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979" r:id="rId5"/>
  </p:sldMasterIdLst>
  <p:notesMasterIdLst>
    <p:notesMasterId r:id="rId33"/>
  </p:notesMasterIdLst>
  <p:handoutMasterIdLst>
    <p:handoutMasterId r:id="rId34"/>
  </p:handoutMasterIdLst>
  <p:sldIdLst>
    <p:sldId id="3150" r:id="rId6"/>
    <p:sldId id="1735" r:id="rId7"/>
    <p:sldId id="3134" r:id="rId8"/>
    <p:sldId id="2076137454" r:id="rId9"/>
    <p:sldId id="3151" r:id="rId10"/>
    <p:sldId id="2076137456" r:id="rId11"/>
    <p:sldId id="3137" r:id="rId12"/>
    <p:sldId id="2076137474" r:id="rId13"/>
    <p:sldId id="2076137465" r:id="rId14"/>
    <p:sldId id="2076137464" r:id="rId15"/>
    <p:sldId id="2076137463" r:id="rId16"/>
    <p:sldId id="2076137477" r:id="rId17"/>
    <p:sldId id="3152" r:id="rId18"/>
    <p:sldId id="2076137476" r:id="rId19"/>
    <p:sldId id="3142" r:id="rId20"/>
    <p:sldId id="3139" r:id="rId21"/>
    <p:sldId id="2076137460" r:id="rId22"/>
    <p:sldId id="3146" r:id="rId23"/>
    <p:sldId id="3143" r:id="rId24"/>
    <p:sldId id="2076137461" r:id="rId25"/>
    <p:sldId id="3147" r:id="rId26"/>
    <p:sldId id="3148" r:id="rId27"/>
    <p:sldId id="3153" r:id="rId28"/>
    <p:sldId id="2076137462" r:id="rId29"/>
    <p:sldId id="2076137475" r:id="rId30"/>
    <p:sldId id="1796" r:id="rId31"/>
    <p:sldId id="3129" r:id="rId32"/>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8B656EC-D568-4EF7-8842-9FA1AE1192C9}">
          <p14:sldIdLst>
            <p14:sldId id="3150"/>
            <p14:sldId id="1735"/>
            <p14:sldId id="3134"/>
            <p14:sldId id="2076137454"/>
            <p14:sldId id="3151"/>
            <p14:sldId id="2076137456"/>
            <p14:sldId id="3137"/>
            <p14:sldId id="2076137474"/>
            <p14:sldId id="2076137465"/>
            <p14:sldId id="2076137464"/>
            <p14:sldId id="2076137463"/>
            <p14:sldId id="2076137477"/>
            <p14:sldId id="3152"/>
            <p14:sldId id="2076137476"/>
            <p14:sldId id="3142"/>
            <p14:sldId id="3139"/>
            <p14:sldId id="2076137460"/>
            <p14:sldId id="3146"/>
            <p14:sldId id="3143"/>
            <p14:sldId id="2076137461"/>
            <p14:sldId id="3147"/>
            <p14:sldId id="3148"/>
            <p14:sldId id="3153"/>
            <p14:sldId id="2076137462"/>
            <p14:sldId id="2076137475"/>
            <p14:sldId id="1796"/>
            <p14:sldId id="3129"/>
          </p14:sldIdLst>
        </p14:section>
      </p14:sectionLst>
    </p:ext>
    <p:ext uri="{EFAFB233-063F-42B5-8137-9DF3F51BA10A}">
      <p15:sldGuideLst xmlns:p15="http://schemas.microsoft.com/office/powerpoint/2012/main">
        <p15:guide id="2" orient="horz" pos="2160">
          <p15:clr>
            <a:srgbClr val="A4A3A4"/>
          </p15:clr>
        </p15:guide>
        <p15:guide id="3"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71ED167-F1B3-C6BF-DC2C-38DCA4ED3602}" name="Vânia Ferramacho" initials="VF" userId="S::vaniaf@microsoft.com::dcac6f62-0268-4a6c-985f-04d532edf992" providerId="AD"/>
  <p188:author id="{E87AA1E2-0C61-A0E4-CFFD-1681BE60BB0B}" name="Andreea Bunduc" initials="AB" userId="S::abunduc@microsoft.com::f7ddd4c3-0921-4c29-878a-c006ec77d69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92B4"/>
    <a:srgbClr val="4CCBED"/>
    <a:srgbClr val="191919"/>
    <a:srgbClr val="0B556A"/>
    <a:srgbClr val="30E5D0"/>
    <a:srgbClr val="008575"/>
    <a:srgbClr val="107C10"/>
    <a:srgbClr val="000000"/>
    <a:srgbClr val="E6E6E6"/>
    <a:srgbClr val="B1B1B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7709" autoAdjust="0"/>
  </p:normalViewPr>
  <p:slideViewPr>
    <p:cSldViewPr snapToGrid="0">
      <p:cViewPr varScale="1">
        <p:scale>
          <a:sx n="88" d="100"/>
          <a:sy n="88" d="100"/>
        </p:scale>
        <p:origin x="1434" y="78"/>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21" Type="http://schemas.openxmlformats.org/officeDocument/2006/relationships/slide" Target="slides/slide16.xml"/><Relationship Id="rId34" Type="http://schemas.openxmlformats.org/officeDocument/2006/relationships/handoutMaster" Target="handoutMasters/handout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ânia Ferramacho" userId="S::vaniaf@microsoft.com::dcac6f62-0268-4a6c-985f-04d532edf992" providerId="AD" clId="Web-{2C0EB79F-F066-0000-D1F2-3351DFC6BEEF}"/>
    <pc:docChg chg="modSld">
      <pc:chgData name="Vânia Ferramacho" userId="S::vaniaf@microsoft.com::dcac6f62-0268-4a6c-985f-04d532edf992" providerId="AD" clId="Web-{2C0EB79F-F066-0000-D1F2-3351DFC6BEEF}" dt="2021-03-23T10:59:00.180" v="30"/>
      <pc:docMkLst>
        <pc:docMk/>
      </pc:docMkLst>
      <pc:sldChg chg="modNotes">
        <pc:chgData name="Vânia Ferramacho" userId="S::vaniaf@microsoft.com::dcac6f62-0268-4a6c-985f-04d532edf992" providerId="AD" clId="Web-{2C0EB79F-F066-0000-D1F2-3351DFC6BEEF}" dt="2021-03-23T10:58:00.930" v="28"/>
        <pc:sldMkLst>
          <pc:docMk/>
          <pc:sldMk cId="3014498644" sldId="2076137461"/>
        </pc:sldMkLst>
      </pc:sldChg>
      <pc:sldChg chg="modNotes">
        <pc:chgData name="Vânia Ferramacho" userId="S::vaniaf@microsoft.com::dcac6f62-0268-4a6c-985f-04d532edf992" providerId="AD" clId="Web-{2C0EB79F-F066-0000-D1F2-3351DFC6BEEF}" dt="2021-03-23T10:59:00.180" v="30"/>
        <pc:sldMkLst>
          <pc:docMk/>
          <pc:sldMk cId="791727592" sldId="2076137463"/>
        </pc:sldMkLst>
      </pc:sldChg>
    </pc:docChg>
  </pc:docChgLst>
  <pc:docChgLst>
    <pc:chgData name="Volker Deuss" userId="83c8cae8-d6b5-4d44-8973-8eec24a06c81" providerId="ADAL" clId="{AF98F42B-DDAD-4ACE-A558-705DBF922F15}"/>
    <pc:docChg chg="undo redo custSel modSld">
      <pc:chgData name="Volker Deuss" userId="83c8cae8-d6b5-4d44-8973-8eec24a06c81" providerId="ADAL" clId="{AF98F42B-DDAD-4ACE-A558-705DBF922F15}" dt="2021-03-23T14:25:15.250" v="653" actId="6549"/>
      <pc:docMkLst>
        <pc:docMk/>
      </pc:docMkLst>
      <pc:sldChg chg="addSp delSp modSp mod modCm">
        <pc:chgData name="Volker Deuss" userId="83c8cae8-d6b5-4d44-8973-8eec24a06c81" providerId="ADAL" clId="{AF98F42B-DDAD-4ACE-A558-705DBF922F15}" dt="2021-03-19T19:05:42.773" v="431" actId="1036"/>
        <pc:sldMkLst>
          <pc:docMk/>
          <pc:sldMk cId="1094870920" sldId="1735"/>
        </pc:sldMkLst>
        <pc:spChg chg="mod">
          <ac:chgData name="Volker Deuss" userId="83c8cae8-d6b5-4d44-8973-8eec24a06c81" providerId="ADAL" clId="{AF98F42B-DDAD-4ACE-A558-705DBF922F15}" dt="2021-03-12T15:12:00.709" v="287" actId="20577"/>
          <ac:spMkLst>
            <pc:docMk/>
            <pc:sldMk cId="1094870920" sldId="1735"/>
            <ac:spMk id="3" creationId="{810CC32F-6D14-4516-8AFD-A517F4160133}"/>
          </ac:spMkLst>
        </pc:spChg>
        <pc:spChg chg="add del mod ord topLvl">
          <ac:chgData name="Volker Deuss" userId="83c8cae8-d6b5-4d44-8973-8eec24a06c81" providerId="ADAL" clId="{AF98F42B-DDAD-4ACE-A558-705DBF922F15}" dt="2021-03-19T19:05:30.949" v="397" actId="1037"/>
          <ac:spMkLst>
            <pc:docMk/>
            <pc:sldMk cId="1094870920" sldId="1735"/>
            <ac:spMk id="41" creationId="{177907F9-2172-46A3-AEA0-8DD4122F217B}"/>
          </ac:spMkLst>
        </pc:spChg>
        <pc:spChg chg="ord">
          <ac:chgData name="Volker Deuss" userId="83c8cae8-d6b5-4d44-8973-8eec24a06c81" providerId="ADAL" clId="{AF98F42B-DDAD-4ACE-A558-705DBF922F15}" dt="2021-03-19T19:05:17.572" v="386" actId="166"/>
          <ac:spMkLst>
            <pc:docMk/>
            <pc:sldMk cId="1094870920" sldId="1735"/>
            <ac:spMk id="103" creationId="{58D773B7-673F-419E-B0B9-B5B66FF34DCD}"/>
          </ac:spMkLst>
        </pc:spChg>
        <pc:spChg chg="mod topLvl">
          <ac:chgData name="Volker Deuss" userId="83c8cae8-d6b5-4d44-8973-8eec24a06c81" providerId="ADAL" clId="{AF98F42B-DDAD-4ACE-A558-705DBF922F15}" dt="2021-03-19T19:05:42.773" v="431" actId="1036"/>
          <ac:spMkLst>
            <pc:docMk/>
            <pc:sldMk cId="1094870920" sldId="1735"/>
            <ac:spMk id="104" creationId="{1F9281E3-1F1D-4B02-A80D-710A4BB90B72}"/>
          </ac:spMkLst>
        </pc:spChg>
        <pc:spChg chg="del">
          <ac:chgData name="Volker Deuss" userId="83c8cae8-d6b5-4d44-8973-8eec24a06c81" providerId="ADAL" clId="{AF98F42B-DDAD-4ACE-A558-705DBF922F15}" dt="2021-03-19T19:01:28.433" v="293" actId="478"/>
          <ac:spMkLst>
            <pc:docMk/>
            <pc:sldMk cId="1094870920" sldId="1735"/>
            <ac:spMk id="120" creationId="{D55897CE-CD2C-40DF-8493-3CDDAF0599C3}"/>
          </ac:spMkLst>
        </pc:spChg>
        <pc:spChg chg="mod">
          <ac:chgData name="Volker Deuss" userId="83c8cae8-d6b5-4d44-8973-8eec24a06c81" providerId="ADAL" clId="{AF98F42B-DDAD-4ACE-A558-705DBF922F15}" dt="2021-03-19T19:04:02.391" v="350" actId="1037"/>
          <ac:spMkLst>
            <pc:docMk/>
            <pc:sldMk cId="1094870920" sldId="1735"/>
            <ac:spMk id="121" creationId="{F797E6EC-13A3-491B-BA5C-14D7F712984D}"/>
          </ac:spMkLst>
        </pc:spChg>
        <pc:grpChg chg="add mod">
          <ac:chgData name="Volker Deuss" userId="83c8cae8-d6b5-4d44-8973-8eec24a06c81" providerId="ADAL" clId="{AF98F42B-DDAD-4ACE-A558-705DBF922F15}" dt="2021-03-19T19:04:00.668" v="348" actId="14100"/>
          <ac:grpSpMkLst>
            <pc:docMk/>
            <pc:sldMk cId="1094870920" sldId="1735"/>
            <ac:grpSpMk id="4" creationId="{DFFE5115-F162-4EA8-89B8-494B870ABCFA}"/>
          </ac:grpSpMkLst>
        </pc:grpChg>
        <pc:grpChg chg="add del">
          <ac:chgData name="Volker Deuss" userId="83c8cae8-d6b5-4d44-8973-8eec24a06c81" providerId="ADAL" clId="{AF98F42B-DDAD-4ACE-A558-705DBF922F15}" dt="2021-03-19T19:03:54.654" v="342" actId="164"/>
          <ac:grpSpMkLst>
            <pc:docMk/>
            <pc:sldMk cId="1094870920" sldId="1735"/>
            <ac:grpSpMk id="5" creationId="{0ACB91DC-B5FB-4182-A8C9-F23F7DE0BC98}"/>
          </ac:grpSpMkLst>
        </pc:grpChg>
        <pc:grpChg chg="mod">
          <ac:chgData name="Volker Deuss" userId="83c8cae8-d6b5-4d44-8973-8eec24a06c81" providerId="ADAL" clId="{AF98F42B-DDAD-4ACE-A558-705DBF922F15}" dt="2021-03-19T19:04:00.668" v="348" actId="14100"/>
          <ac:grpSpMkLst>
            <pc:docMk/>
            <pc:sldMk cId="1094870920" sldId="1735"/>
            <ac:grpSpMk id="54" creationId="{E3151547-6629-4A30-85D7-9026BFEC7DB1}"/>
          </ac:grpSpMkLst>
        </pc:grpChg>
        <pc:grpChg chg="mod">
          <ac:chgData name="Volker Deuss" userId="83c8cae8-d6b5-4d44-8973-8eec24a06c81" providerId="ADAL" clId="{AF98F42B-DDAD-4ACE-A558-705DBF922F15}" dt="2021-03-19T19:04:00.668" v="348" actId="14100"/>
          <ac:grpSpMkLst>
            <pc:docMk/>
            <pc:sldMk cId="1094870920" sldId="1735"/>
            <ac:grpSpMk id="59" creationId="{77ACF46A-463D-47C7-864A-28AF0D80B0C8}"/>
          </ac:grpSpMkLst>
        </pc:grpChg>
        <pc:grpChg chg="mod">
          <ac:chgData name="Volker Deuss" userId="83c8cae8-d6b5-4d44-8973-8eec24a06c81" providerId="ADAL" clId="{AF98F42B-DDAD-4ACE-A558-705DBF922F15}" dt="2021-03-19T19:04:00.668" v="348" actId="14100"/>
          <ac:grpSpMkLst>
            <pc:docMk/>
            <pc:sldMk cId="1094870920" sldId="1735"/>
            <ac:grpSpMk id="64" creationId="{C25BF092-9D17-40D4-AEA1-85E84CD38EE6}"/>
          </ac:grpSpMkLst>
        </pc:grpChg>
        <pc:grpChg chg="mod">
          <ac:chgData name="Volker Deuss" userId="83c8cae8-d6b5-4d44-8973-8eec24a06c81" providerId="ADAL" clId="{AF98F42B-DDAD-4ACE-A558-705DBF922F15}" dt="2021-03-19T19:04:00.668" v="348" actId="14100"/>
          <ac:grpSpMkLst>
            <pc:docMk/>
            <pc:sldMk cId="1094870920" sldId="1735"/>
            <ac:grpSpMk id="69" creationId="{199D9518-4245-48DA-AFDC-44848BB4C33A}"/>
          </ac:grpSpMkLst>
        </pc:grpChg>
        <pc:grpChg chg="mod">
          <ac:chgData name="Volker Deuss" userId="83c8cae8-d6b5-4d44-8973-8eec24a06c81" providerId="ADAL" clId="{AF98F42B-DDAD-4ACE-A558-705DBF922F15}" dt="2021-03-19T19:02:05.081" v="298" actId="14100"/>
          <ac:grpSpMkLst>
            <pc:docMk/>
            <pc:sldMk cId="1094870920" sldId="1735"/>
            <ac:grpSpMk id="74" creationId="{50C4E2D5-ABEE-4F1C-8DF5-73DE5AC2F27A}"/>
          </ac:grpSpMkLst>
        </pc:grpChg>
        <pc:grpChg chg="del">
          <ac:chgData name="Volker Deuss" userId="83c8cae8-d6b5-4d44-8973-8eec24a06c81" providerId="ADAL" clId="{AF98F42B-DDAD-4ACE-A558-705DBF922F15}" dt="2021-03-19T19:01:26.207" v="292" actId="478"/>
          <ac:grpSpMkLst>
            <pc:docMk/>
            <pc:sldMk cId="1094870920" sldId="1735"/>
            <ac:grpSpMk id="79" creationId="{00543721-9F23-4D2C-A13E-D93B984A9FDA}"/>
          </ac:grpSpMkLst>
        </pc:grpChg>
        <pc:grpChg chg="mod">
          <ac:chgData name="Volker Deuss" userId="83c8cae8-d6b5-4d44-8973-8eec24a06c81" providerId="ADAL" clId="{AF98F42B-DDAD-4ACE-A558-705DBF922F15}" dt="2021-03-19T19:04:02.924" v="351" actId="1035"/>
          <ac:grpSpMkLst>
            <pc:docMk/>
            <pc:sldMk cId="1094870920" sldId="1735"/>
            <ac:grpSpMk id="84" creationId="{95831B84-1C17-4A14-9584-93D7C92B4AC9}"/>
          </ac:grpSpMkLst>
        </pc:grpChg>
        <pc:grpChg chg="mod topLvl">
          <ac:chgData name="Volker Deuss" userId="83c8cae8-d6b5-4d44-8973-8eec24a06c81" providerId="ADAL" clId="{AF98F42B-DDAD-4ACE-A558-705DBF922F15}" dt="2021-03-19T19:05:42.773" v="431" actId="1036"/>
          <ac:grpSpMkLst>
            <pc:docMk/>
            <pc:sldMk cId="1094870920" sldId="1735"/>
            <ac:grpSpMk id="90" creationId="{AB4443CD-27CA-4DBD-A805-FB445344CC74}"/>
          </ac:grpSpMkLst>
        </pc:grpChg>
        <pc:grpChg chg="mod">
          <ac:chgData name="Volker Deuss" userId="83c8cae8-d6b5-4d44-8973-8eec24a06c81" providerId="ADAL" clId="{AF98F42B-DDAD-4ACE-A558-705DBF922F15}" dt="2021-03-19T19:04:02.924" v="351" actId="1035"/>
          <ac:grpSpMkLst>
            <pc:docMk/>
            <pc:sldMk cId="1094870920" sldId="1735"/>
            <ac:grpSpMk id="98" creationId="{31B1E4F9-4C70-4D98-8B0E-1FCDC08712D4}"/>
          </ac:grpSpMkLst>
        </pc:grpChg>
        <pc:grpChg chg="mod">
          <ac:chgData name="Volker Deuss" userId="83c8cae8-d6b5-4d44-8973-8eec24a06c81" providerId="ADAL" clId="{AF98F42B-DDAD-4ACE-A558-705DBF922F15}" dt="2021-03-19T19:04:02.924" v="351" actId="1035"/>
          <ac:grpSpMkLst>
            <pc:docMk/>
            <pc:sldMk cId="1094870920" sldId="1735"/>
            <ac:grpSpMk id="108" creationId="{1968FCB1-4939-4B68-8DC9-516AB0B3F2DD}"/>
          </ac:grpSpMkLst>
        </pc:grpChg>
        <pc:grpChg chg="del">
          <ac:chgData name="Volker Deuss" userId="83c8cae8-d6b5-4d44-8973-8eec24a06c81" providerId="ADAL" clId="{AF98F42B-DDAD-4ACE-A558-705DBF922F15}" dt="2021-03-19T19:01:30.822" v="294" actId="478"/>
          <ac:grpSpMkLst>
            <pc:docMk/>
            <pc:sldMk cId="1094870920" sldId="1735"/>
            <ac:grpSpMk id="115" creationId="{F7FC6DE4-A2AD-430F-A3FB-92CDFA680BD7}"/>
          </ac:grpSpMkLst>
        </pc:grpChg>
        <pc:cxnChg chg="mod">
          <ac:chgData name="Volker Deuss" userId="83c8cae8-d6b5-4d44-8973-8eec24a06c81" providerId="ADAL" clId="{AF98F42B-DDAD-4ACE-A558-705DBF922F15}" dt="2021-03-19T19:04:02.924" v="351" actId="1035"/>
          <ac:cxnSpMkLst>
            <pc:docMk/>
            <pc:sldMk cId="1094870920" sldId="1735"/>
            <ac:cxnSpMk id="52" creationId="{721FE680-81D2-484D-B86E-D8BCF74079FD}"/>
          </ac:cxnSpMkLst>
        </pc:cxnChg>
        <pc:cxnChg chg="mod">
          <ac:chgData name="Volker Deuss" userId="83c8cae8-d6b5-4d44-8973-8eec24a06c81" providerId="ADAL" clId="{AF98F42B-DDAD-4ACE-A558-705DBF922F15}" dt="2021-03-19T19:04:02.924" v="351" actId="1035"/>
          <ac:cxnSpMkLst>
            <pc:docMk/>
            <pc:sldMk cId="1094870920" sldId="1735"/>
            <ac:cxnSpMk id="53" creationId="{76FF7EC1-B2EB-4DC5-B055-C580BB6B5166}"/>
          </ac:cxnSpMkLst>
        </pc:cxnChg>
        <pc:cxnChg chg="mod">
          <ac:chgData name="Volker Deuss" userId="83c8cae8-d6b5-4d44-8973-8eec24a06c81" providerId="ADAL" clId="{AF98F42B-DDAD-4ACE-A558-705DBF922F15}" dt="2021-03-19T19:04:02.924" v="351" actId="1035"/>
          <ac:cxnSpMkLst>
            <pc:docMk/>
            <pc:sldMk cId="1094870920" sldId="1735"/>
            <ac:cxnSpMk id="97" creationId="{DDFBF943-5D7E-4892-A923-900A720B72B9}"/>
          </ac:cxnSpMkLst>
        </pc:cxnChg>
        <pc:cxnChg chg="mod">
          <ac:chgData name="Volker Deuss" userId="83c8cae8-d6b5-4d44-8973-8eec24a06c81" providerId="ADAL" clId="{AF98F42B-DDAD-4ACE-A558-705DBF922F15}" dt="2021-03-19T19:04:02.924" v="351" actId="1035"/>
          <ac:cxnSpMkLst>
            <pc:docMk/>
            <pc:sldMk cId="1094870920" sldId="1735"/>
            <ac:cxnSpMk id="105" creationId="{659FEA74-C3DC-4508-BE4F-3AF4CD4B39B4}"/>
          </ac:cxnSpMkLst>
        </pc:cxnChg>
        <pc:cxnChg chg="mod">
          <ac:chgData name="Volker Deuss" userId="83c8cae8-d6b5-4d44-8973-8eec24a06c81" providerId="ADAL" clId="{AF98F42B-DDAD-4ACE-A558-705DBF922F15}" dt="2021-03-19T19:04:02.924" v="351" actId="1035"/>
          <ac:cxnSpMkLst>
            <pc:docMk/>
            <pc:sldMk cId="1094870920" sldId="1735"/>
            <ac:cxnSpMk id="114" creationId="{78B78F5D-D11A-4A92-A63F-98087733F901}"/>
          </ac:cxnSpMkLst>
        </pc:cxnChg>
      </pc:sldChg>
      <pc:sldChg chg="modSp mod modNotesTx">
        <pc:chgData name="Volker Deuss" userId="83c8cae8-d6b5-4d44-8973-8eec24a06c81" providerId="ADAL" clId="{AF98F42B-DDAD-4ACE-A558-705DBF922F15}" dt="2021-03-23T14:24:06.309" v="644" actId="6549"/>
        <pc:sldMkLst>
          <pc:docMk/>
          <pc:sldMk cId="3744392427" sldId="3137"/>
        </pc:sldMkLst>
        <pc:spChg chg="mod">
          <ac:chgData name="Volker Deuss" userId="83c8cae8-d6b5-4d44-8973-8eec24a06c81" providerId="ADAL" clId="{AF98F42B-DDAD-4ACE-A558-705DBF922F15}" dt="2021-03-23T14:24:06.309" v="644" actId="6549"/>
          <ac:spMkLst>
            <pc:docMk/>
            <pc:sldMk cId="3744392427" sldId="3137"/>
            <ac:spMk id="15" creationId="{BDD64BFD-7ED9-4476-ABC3-6BBAC4A275B2}"/>
          </ac:spMkLst>
        </pc:spChg>
        <pc:spChg chg="mod">
          <ac:chgData name="Volker Deuss" userId="83c8cae8-d6b5-4d44-8973-8eec24a06c81" providerId="ADAL" clId="{AF98F42B-DDAD-4ACE-A558-705DBF922F15}" dt="2021-03-23T14:05:39.598" v="448" actId="20577"/>
          <ac:spMkLst>
            <pc:docMk/>
            <pc:sldMk cId="3744392427" sldId="3137"/>
            <ac:spMk id="20" creationId="{3EBF0E00-3491-407A-B77E-C8A241BBCFB3}"/>
          </ac:spMkLst>
        </pc:spChg>
      </pc:sldChg>
      <pc:sldChg chg="modSp mod">
        <pc:chgData name="Volker Deuss" userId="83c8cae8-d6b5-4d44-8973-8eec24a06c81" providerId="ADAL" clId="{AF98F42B-DDAD-4ACE-A558-705DBF922F15}" dt="2021-03-23T14:24:47.836" v="649" actId="6549"/>
        <pc:sldMkLst>
          <pc:docMk/>
          <pc:sldMk cId="1478783221" sldId="3142"/>
        </pc:sldMkLst>
        <pc:spChg chg="mod">
          <ac:chgData name="Volker Deuss" userId="83c8cae8-d6b5-4d44-8973-8eec24a06c81" providerId="ADAL" clId="{AF98F42B-DDAD-4ACE-A558-705DBF922F15}" dt="2021-03-23T14:24:47.836" v="649" actId="6549"/>
          <ac:spMkLst>
            <pc:docMk/>
            <pc:sldMk cId="1478783221" sldId="3142"/>
            <ac:spMk id="15" creationId="{BDD64BFD-7ED9-4476-ABC3-6BBAC4A275B2}"/>
          </ac:spMkLst>
        </pc:spChg>
      </pc:sldChg>
      <pc:sldChg chg="modSp mod modNotesTx">
        <pc:chgData name="Volker Deuss" userId="83c8cae8-d6b5-4d44-8973-8eec24a06c81" providerId="ADAL" clId="{AF98F42B-DDAD-4ACE-A558-705DBF922F15}" dt="2021-03-23T14:24:53.634" v="650" actId="6549"/>
        <pc:sldMkLst>
          <pc:docMk/>
          <pc:sldMk cId="69220512" sldId="3143"/>
        </pc:sldMkLst>
        <pc:spChg chg="mod">
          <ac:chgData name="Volker Deuss" userId="83c8cae8-d6b5-4d44-8973-8eec24a06c81" providerId="ADAL" clId="{AF98F42B-DDAD-4ACE-A558-705DBF922F15}" dt="2021-03-23T14:03:48.659" v="447" actId="13926"/>
          <ac:spMkLst>
            <pc:docMk/>
            <pc:sldMk cId="69220512" sldId="3143"/>
            <ac:spMk id="10" creationId="{53EC6F74-4994-4365-BF20-3ACC76EB7EDA}"/>
          </ac:spMkLst>
        </pc:spChg>
        <pc:spChg chg="mod">
          <ac:chgData name="Volker Deuss" userId="83c8cae8-d6b5-4d44-8973-8eec24a06c81" providerId="ADAL" clId="{AF98F42B-DDAD-4ACE-A558-705DBF922F15}" dt="2021-03-23T14:24:53.634" v="650" actId="6549"/>
          <ac:spMkLst>
            <pc:docMk/>
            <pc:sldMk cId="69220512" sldId="3143"/>
            <ac:spMk id="15" creationId="{BDD64BFD-7ED9-4476-ABC3-6BBAC4A275B2}"/>
          </ac:spMkLst>
        </pc:spChg>
      </pc:sldChg>
      <pc:sldChg chg="modSp mod">
        <pc:chgData name="Volker Deuss" userId="83c8cae8-d6b5-4d44-8973-8eec24a06c81" providerId="ADAL" clId="{AF98F42B-DDAD-4ACE-A558-705DBF922F15}" dt="2021-03-23T14:25:04.795" v="652" actId="6549"/>
        <pc:sldMkLst>
          <pc:docMk/>
          <pc:sldMk cId="3779075657" sldId="3148"/>
        </pc:sldMkLst>
        <pc:spChg chg="mod">
          <ac:chgData name="Volker Deuss" userId="83c8cae8-d6b5-4d44-8973-8eec24a06c81" providerId="ADAL" clId="{AF98F42B-DDAD-4ACE-A558-705DBF922F15}" dt="2021-03-23T14:25:04.795" v="652" actId="6549"/>
          <ac:spMkLst>
            <pc:docMk/>
            <pc:sldMk cId="3779075657" sldId="3148"/>
            <ac:spMk id="15" creationId="{BDD64BFD-7ED9-4476-ABC3-6BBAC4A275B2}"/>
          </ac:spMkLst>
        </pc:spChg>
      </pc:sldChg>
      <pc:sldChg chg="modSp mod">
        <pc:chgData name="Volker Deuss" userId="83c8cae8-d6b5-4d44-8973-8eec24a06c81" providerId="ADAL" clId="{AF98F42B-DDAD-4ACE-A558-705DBF922F15}" dt="2021-03-19T19:01:19.413" v="291" actId="1076"/>
        <pc:sldMkLst>
          <pc:docMk/>
          <pc:sldMk cId="95491136" sldId="3150"/>
        </pc:sldMkLst>
        <pc:picChg chg="mod">
          <ac:chgData name="Volker Deuss" userId="83c8cae8-d6b5-4d44-8973-8eec24a06c81" providerId="ADAL" clId="{AF98F42B-DDAD-4ACE-A558-705DBF922F15}" dt="2021-03-19T19:01:19.413" v="291" actId="1076"/>
          <ac:picMkLst>
            <pc:docMk/>
            <pc:sldMk cId="95491136" sldId="3150"/>
            <ac:picMk id="9" creationId="{B4BDE2EB-46EE-1D4C-ACC6-469F3C5178D2}"/>
          </ac:picMkLst>
        </pc:picChg>
      </pc:sldChg>
      <pc:sldChg chg="modSp mod">
        <pc:chgData name="Volker Deuss" userId="83c8cae8-d6b5-4d44-8973-8eec24a06c81" providerId="ADAL" clId="{AF98F42B-DDAD-4ACE-A558-705DBF922F15}" dt="2021-03-09T14:18:57.952" v="0" actId="20577"/>
        <pc:sldMkLst>
          <pc:docMk/>
          <pc:sldMk cId="443274503" sldId="2076137454"/>
        </pc:sldMkLst>
        <pc:spChg chg="mod">
          <ac:chgData name="Volker Deuss" userId="83c8cae8-d6b5-4d44-8973-8eec24a06c81" providerId="ADAL" clId="{AF98F42B-DDAD-4ACE-A558-705DBF922F15}" dt="2021-03-09T14:18:57.952" v="0" actId="20577"/>
          <ac:spMkLst>
            <pc:docMk/>
            <pc:sldMk cId="443274503" sldId="2076137454"/>
            <ac:spMk id="798" creationId="{1C2C2909-D3EE-4A4C-87C2-52473DC54D87}"/>
          </ac:spMkLst>
        </pc:spChg>
      </pc:sldChg>
      <pc:sldChg chg="modSp mod">
        <pc:chgData name="Volker Deuss" userId="83c8cae8-d6b5-4d44-8973-8eec24a06c81" providerId="ADAL" clId="{AF98F42B-DDAD-4ACE-A558-705DBF922F15}" dt="2021-03-23T14:24:58.419" v="651" actId="6549"/>
        <pc:sldMkLst>
          <pc:docMk/>
          <pc:sldMk cId="3014498644" sldId="2076137461"/>
        </pc:sldMkLst>
        <pc:spChg chg="mod">
          <ac:chgData name="Volker Deuss" userId="83c8cae8-d6b5-4d44-8973-8eec24a06c81" providerId="ADAL" clId="{AF98F42B-DDAD-4ACE-A558-705DBF922F15}" dt="2021-03-23T14:24:58.419" v="651" actId="6549"/>
          <ac:spMkLst>
            <pc:docMk/>
            <pc:sldMk cId="3014498644" sldId="2076137461"/>
            <ac:spMk id="15" creationId="{BDD64BFD-7ED9-4476-ABC3-6BBAC4A275B2}"/>
          </ac:spMkLst>
        </pc:spChg>
      </pc:sldChg>
      <pc:sldChg chg="modSp mod">
        <pc:chgData name="Volker Deuss" userId="83c8cae8-d6b5-4d44-8973-8eec24a06c81" providerId="ADAL" clId="{AF98F42B-DDAD-4ACE-A558-705DBF922F15}" dt="2021-03-23T14:25:15.250" v="653" actId="6549"/>
        <pc:sldMkLst>
          <pc:docMk/>
          <pc:sldMk cId="4145431178" sldId="2076137462"/>
        </pc:sldMkLst>
        <pc:spChg chg="mod">
          <ac:chgData name="Volker Deuss" userId="83c8cae8-d6b5-4d44-8973-8eec24a06c81" providerId="ADAL" clId="{AF98F42B-DDAD-4ACE-A558-705DBF922F15}" dt="2021-03-23T14:25:15.250" v="653" actId="6549"/>
          <ac:spMkLst>
            <pc:docMk/>
            <pc:sldMk cId="4145431178" sldId="2076137462"/>
            <ac:spMk id="15" creationId="{BDD64BFD-7ED9-4476-ABC3-6BBAC4A275B2}"/>
          </ac:spMkLst>
        </pc:spChg>
      </pc:sldChg>
      <pc:sldChg chg="modSp mod">
        <pc:chgData name="Volker Deuss" userId="83c8cae8-d6b5-4d44-8973-8eec24a06c81" providerId="ADAL" clId="{AF98F42B-DDAD-4ACE-A558-705DBF922F15}" dt="2021-03-23T14:24:37.688" v="648" actId="6549"/>
        <pc:sldMkLst>
          <pc:docMk/>
          <pc:sldMk cId="791727592" sldId="2076137463"/>
        </pc:sldMkLst>
        <pc:spChg chg="mod">
          <ac:chgData name="Volker Deuss" userId="83c8cae8-d6b5-4d44-8973-8eec24a06c81" providerId="ADAL" clId="{AF98F42B-DDAD-4ACE-A558-705DBF922F15}" dt="2021-03-23T14:24:37.688" v="648" actId="6549"/>
          <ac:spMkLst>
            <pc:docMk/>
            <pc:sldMk cId="791727592" sldId="2076137463"/>
            <ac:spMk id="15" creationId="{BDD64BFD-7ED9-4476-ABC3-6BBAC4A275B2}"/>
          </ac:spMkLst>
        </pc:spChg>
      </pc:sldChg>
      <pc:sldChg chg="modSp mod">
        <pc:chgData name="Volker Deuss" userId="83c8cae8-d6b5-4d44-8973-8eec24a06c81" providerId="ADAL" clId="{AF98F42B-DDAD-4ACE-A558-705DBF922F15}" dt="2021-03-23T14:24:31.929" v="647" actId="6549"/>
        <pc:sldMkLst>
          <pc:docMk/>
          <pc:sldMk cId="1045128666" sldId="2076137464"/>
        </pc:sldMkLst>
        <pc:spChg chg="mod">
          <ac:chgData name="Volker Deuss" userId="83c8cae8-d6b5-4d44-8973-8eec24a06c81" providerId="ADAL" clId="{AF98F42B-DDAD-4ACE-A558-705DBF922F15}" dt="2021-03-23T14:24:31.929" v="647" actId="6549"/>
          <ac:spMkLst>
            <pc:docMk/>
            <pc:sldMk cId="1045128666" sldId="2076137464"/>
            <ac:spMk id="15" creationId="{BDD64BFD-7ED9-4476-ABC3-6BBAC4A275B2}"/>
          </ac:spMkLst>
        </pc:spChg>
      </pc:sldChg>
      <pc:sldChg chg="modSp mod">
        <pc:chgData name="Volker Deuss" userId="83c8cae8-d6b5-4d44-8973-8eec24a06c81" providerId="ADAL" clId="{AF98F42B-DDAD-4ACE-A558-705DBF922F15}" dt="2021-03-23T14:24:26.532" v="646" actId="6549"/>
        <pc:sldMkLst>
          <pc:docMk/>
          <pc:sldMk cId="356062852" sldId="2076137465"/>
        </pc:sldMkLst>
        <pc:spChg chg="mod">
          <ac:chgData name="Volker Deuss" userId="83c8cae8-d6b5-4d44-8973-8eec24a06c81" providerId="ADAL" clId="{AF98F42B-DDAD-4ACE-A558-705DBF922F15}" dt="2021-03-23T14:24:26.532" v="646" actId="6549"/>
          <ac:spMkLst>
            <pc:docMk/>
            <pc:sldMk cId="356062852" sldId="2076137465"/>
            <ac:spMk id="15" creationId="{BDD64BFD-7ED9-4476-ABC3-6BBAC4A275B2}"/>
          </ac:spMkLst>
        </pc:spChg>
      </pc:sldChg>
      <pc:sldChg chg="modSp mod">
        <pc:chgData name="Volker Deuss" userId="83c8cae8-d6b5-4d44-8973-8eec24a06c81" providerId="ADAL" clId="{AF98F42B-DDAD-4ACE-A558-705DBF922F15}" dt="2021-03-23T14:24:20.821" v="645" actId="6549"/>
        <pc:sldMkLst>
          <pc:docMk/>
          <pc:sldMk cId="4209219" sldId="2076137474"/>
        </pc:sldMkLst>
        <pc:spChg chg="mod">
          <ac:chgData name="Volker Deuss" userId="83c8cae8-d6b5-4d44-8973-8eec24a06c81" providerId="ADAL" clId="{AF98F42B-DDAD-4ACE-A558-705DBF922F15}" dt="2021-03-23T14:24:20.821" v="645" actId="6549"/>
          <ac:spMkLst>
            <pc:docMk/>
            <pc:sldMk cId="4209219" sldId="2076137474"/>
            <ac:spMk id="15" creationId="{BDD64BFD-7ED9-4476-ABC3-6BBAC4A275B2}"/>
          </ac:spMkLst>
        </pc:spChg>
      </pc:sldChg>
    </pc:docChg>
  </pc:docChgLst>
  <pc:docChgLst>
    <pc:chgData name="Andreea Bunduc" userId="S::abunduc@microsoft.com::f7ddd4c3-0921-4c29-878a-c006ec77d69b" providerId="AD" clId="Web-{23F0B09F-8082-0000-D168-ADFC321F1A4E}"/>
    <pc:docChg chg="modSld">
      <pc:chgData name="Andreea Bunduc" userId="S::abunduc@microsoft.com::f7ddd4c3-0921-4c29-878a-c006ec77d69b" providerId="AD" clId="Web-{23F0B09F-8082-0000-D168-ADFC321F1A4E}" dt="2021-03-04T11:02:43.300" v="67" actId="20577"/>
      <pc:docMkLst>
        <pc:docMk/>
      </pc:docMkLst>
      <pc:sldChg chg="modSp">
        <pc:chgData name="Andreea Bunduc" userId="S::abunduc@microsoft.com::f7ddd4c3-0921-4c29-878a-c006ec77d69b" providerId="AD" clId="Web-{23F0B09F-8082-0000-D168-ADFC321F1A4E}" dt="2021-03-04T11:02:43.300" v="67" actId="20577"/>
        <pc:sldMkLst>
          <pc:docMk/>
          <pc:sldMk cId="1094870920" sldId="1735"/>
        </pc:sldMkLst>
        <pc:spChg chg="mod">
          <ac:chgData name="Andreea Bunduc" userId="S::abunduc@microsoft.com::f7ddd4c3-0921-4c29-878a-c006ec77d69b" providerId="AD" clId="Web-{23F0B09F-8082-0000-D168-ADFC321F1A4E}" dt="2021-03-04T10:46:20.932" v="13" actId="20577"/>
          <ac:spMkLst>
            <pc:docMk/>
            <pc:sldMk cId="1094870920" sldId="1735"/>
            <ac:spMk id="2" creationId="{45010FE8-BF09-4146-B084-66CB05B66FD9}"/>
          </ac:spMkLst>
        </pc:spChg>
        <pc:spChg chg="mod">
          <ac:chgData name="Andreea Bunduc" userId="S::abunduc@microsoft.com::f7ddd4c3-0921-4c29-878a-c006ec77d69b" providerId="AD" clId="Web-{23F0B09F-8082-0000-D168-ADFC321F1A4E}" dt="2021-03-04T11:02:43.300" v="67" actId="20577"/>
          <ac:spMkLst>
            <pc:docMk/>
            <pc:sldMk cId="1094870920" sldId="1735"/>
            <ac:spMk id="41" creationId="{177907F9-2172-46A3-AEA0-8DD4122F217B}"/>
          </ac:spMkLst>
        </pc:spChg>
        <pc:spChg chg="mod">
          <ac:chgData name="Andreea Bunduc" userId="S::abunduc@microsoft.com::f7ddd4c3-0921-4c29-878a-c006ec77d69b" providerId="AD" clId="Web-{23F0B09F-8082-0000-D168-ADFC321F1A4E}" dt="2021-03-04T10:57:07.745" v="16" actId="20577"/>
          <ac:spMkLst>
            <pc:docMk/>
            <pc:sldMk cId="1094870920" sldId="1735"/>
            <ac:spMk id="103" creationId="{58D773B7-673F-419E-B0B9-B5B66FF34DCD}"/>
          </ac:spMkLst>
        </pc:spChg>
      </pc:sldChg>
      <pc:sldChg chg="modSp">
        <pc:chgData name="Andreea Bunduc" userId="S::abunduc@microsoft.com::f7ddd4c3-0921-4c29-878a-c006ec77d69b" providerId="AD" clId="Web-{23F0B09F-8082-0000-D168-ADFC321F1A4E}" dt="2021-03-04T10:58:58.997" v="63" actId="20577"/>
        <pc:sldMkLst>
          <pc:docMk/>
          <pc:sldMk cId="3003001123" sldId="2112"/>
        </pc:sldMkLst>
        <pc:spChg chg="mod">
          <ac:chgData name="Andreea Bunduc" userId="S::abunduc@microsoft.com::f7ddd4c3-0921-4c29-878a-c006ec77d69b" providerId="AD" clId="Web-{23F0B09F-8082-0000-D168-ADFC321F1A4E}" dt="2021-03-04T10:58:37.888" v="46" actId="20577"/>
          <ac:spMkLst>
            <pc:docMk/>
            <pc:sldMk cId="3003001123" sldId="2112"/>
            <ac:spMk id="4" creationId="{91E1388E-A56A-4206-914E-EF0361A049FD}"/>
          </ac:spMkLst>
        </pc:spChg>
        <pc:spChg chg="mod">
          <ac:chgData name="Andreea Bunduc" userId="S::abunduc@microsoft.com::f7ddd4c3-0921-4c29-878a-c006ec77d69b" providerId="AD" clId="Web-{23F0B09F-8082-0000-D168-ADFC321F1A4E}" dt="2021-03-04T10:58:58.997" v="63" actId="20577"/>
          <ac:spMkLst>
            <pc:docMk/>
            <pc:sldMk cId="3003001123" sldId="2112"/>
            <ac:spMk id="5" creationId="{9D8EA170-F704-4ACA-9DBE-BD3AD12AC8E0}"/>
          </ac:spMkLst>
        </pc:spChg>
        <pc:spChg chg="mod">
          <ac:chgData name="Andreea Bunduc" userId="S::abunduc@microsoft.com::f7ddd4c3-0921-4c29-878a-c006ec77d69b" providerId="AD" clId="Web-{23F0B09F-8082-0000-D168-ADFC321F1A4E}" dt="2021-03-04T10:58:28.840" v="43" actId="1076"/>
          <ac:spMkLst>
            <pc:docMk/>
            <pc:sldMk cId="3003001123" sldId="2112"/>
            <ac:spMk id="6" creationId="{726D6336-8A35-4EC7-A7C7-9236CD068886}"/>
          </ac:spMkLst>
        </pc:spChg>
      </pc:sldChg>
    </pc:docChg>
  </pc:docChgLst>
  <pc:docChgLst>
    <pc:chgData name="Timo Gossen" userId="4ec7f864-84f7-407f-b8f9-5c31d0de0089" providerId="ADAL" clId="{E96548DA-82A4-4619-99EB-E337E7C91CE6}"/>
    <pc:docChg chg="undo custSel modSld addMainMaster delMainMaster modMainMaster addSection modSection">
      <pc:chgData name="Timo Gossen" userId="4ec7f864-84f7-407f-b8f9-5c31d0de0089" providerId="ADAL" clId="{E96548DA-82A4-4619-99EB-E337E7C91CE6}" dt="2021-02-15T13:33:03.932" v="117" actId="478"/>
      <pc:docMkLst>
        <pc:docMk/>
      </pc:docMkLst>
      <pc:sldChg chg="addSp delSp modSp mod modClrScheme chgLayout">
        <pc:chgData name="Timo Gossen" userId="4ec7f864-84f7-407f-b8f9-5c31d0de0089" providerId="ADAL" clId="{E96548DA-82A4-4619-99EB-E337E7C91CE6}" dt="2021-02-15T13:33:03.932" v="117" actId="478"/>
        <pc:sldMkLst>
          <pc:docMk/>
          <pc:sldMk cId="2345068032" sldId="1786"/>
        </pc:sldMkLst>
        <pc:spChg chg="mod ord">
          <ac:chgData name="Timo Gossen" userId="4ec7f864-84f7-407f-b8f9-5c31d0de0089" providerId="ADAL" clId="{E96548DA-82A4-4619-99EB-E337E7C91CE6}" dt="2021-02-15T13:33:00.840" v="116" actId="700"/>
          <ac:spMkLst>
            <pc:docMk/>
            <pc:sldMk cId="2345068032" sldId="1786"/>
            <ac:spMk id="2" creationId="{45010FE8-BF09-4146-B084-66CB05B66FD9}"/>
          </ac:spMkLst>
        </pc:spChg>
        <pc:spChg chg="add del">
          <ac:chgData name="Timo Gossen" userId="4ec7f864-84f7-407f-b8f9-5c31d0de0089" providerId="ADAL" clId="{E96548DA-82A4-4619-99EB-E337E7C91CE6}" dt="2021-02-15T13:31:06.773" v="95" actId="22"/>
          <ac:spMkLst>
            <pc:docMk/>
            <pc:sldMk cId="2345068032" sldId="1786"/>
            <ac:spMk id="4" creationId="{46951234-C292-4AB6-8956-64968A0AE0E5}"/>
          </ac:spMkLst>
        </pc:spChg>
        <pc:spChg chg="add del mod">
          <ac:chgData name="Timo Gossen" userId="4ec7f864-84f7-407f-b8f9-5c31d0de0089" providerId="ADAL" clId="{E96548DA-82A4-4619-99EB-E337E7C91CE6}" dt="2021-02-15T13:33:03.932" v="117" actId="478"/>
          <ac:spMkLst>
            <pc:docMk/>
            <pc:sldMk cId="2345068032" sldId="1786"/>
            <ac:spMk id="5" creationId="{7A8850BF-02E2-4EFB-88F7-2C96CD3E7629}"/>
          </ac:spMkLst>
        </pc:spChg>
        <pc:spChg chg="del">
          <ac:chgData name="Timo Gossen" userId="4ec7f864-84f7-407f-b8f9-5c31d0de0089" providerId="ADAL" clId="{E96548DA-82A4-4619-99EB-E337E7C91CE6}" dt="2021-02-15T13:31:27.681" v="99" actId="478"/>
          <ac:spMkLst>
            <pc:docMk/>
            <pc:sldMk cId="2345068032" sldId="1786"/>
            <ac:spMk id="9" creationId="{5F10B7DA-EBAD-49D8-8636-A3336D68F659}"/>
          </ac:spMkLst>
        </pc:spChg>
      </pc:sldChg>
      <pc:sldChg chg="delSp modSp mod modClrScheme chgLayout">
        <pc:chgData name="Timo Gossen" userId="4ec7f864-84f7-407f-b8f9-5c31d0de0089" providerId="ADAL" clId="{E96548DA-82A4-4619-99EB-E337E7C91CE6}" dt="2021-02-15T13:32:18.778" v="108" actId="478"/>
        <pc:sldMkLst>
          <pc:docMk/>
          <pc:sldMk cId="3071064459" sldId="1795"/>
        </pc:sldMkLst>
        <pc:spChg chg="mod ord">
          <ac:chgData name="Timo Gossen" userId="4ec7f864-84f7-407f-b8f9-5c31d0de0089" providerId="ADAL" clId="{E96548DA-82A4-4619-99EB-E337E7C91CE6}" dt="2021-02-15T13:32:16.511" v="107" actId="700"/>
          <ac:spMkLst>
            <pc:docMk/>
            <pc:sldMk cId="3071064459" sldId="1795"/>
            <ac:spMk id="2" creationId="{45010FE8-BF09-4146-B084-66CB05B66FD9}"/>
          </ac:spMkLst>
        </pc:spChg>
        <pc:spChg chg="del">
          <ac:chgData name="Timo Gossen" userId="4ec7f864-84f7-407f-b8f9-5c31d0de0089" providerId="ADAL" clId="{E96548DA-82A4-4619-99EB-E337E7C91CE6}" dt="2021-02-15T13:32:18.778" v="108" actId="478"/>
          <ac:spMkLst>
            <pc:docMk/>
            <pc:sldMk cId="3071064459" sldId="1795"/>
            <ac:spMk id="24" creationId="{351B32E7-E83A-484E-89B0-B2EDDAE540AF}"/>
          </ac:spMkLst>
        </pc:spChg>
      </pc:sldChg>
      <pc:sldChg chg="delSp modSp mod modClrScheme chgLayout">
        <pc:chgData name="Timo Gossen" userId="4ec7f864-84f7-407f-b8f9-5c31d0de0089" providerId="ADAL" clId="{E96548DA-82A4-4619-99EB-E337E7C91CE6}" dt="2021-02-15T13:32:28.833" v="112" actId="700"/>
        <pc:sldMkLst>
          <pc:docMk/>
          <pc:sldMk cId="855631851" sldId="1796"/>
        </pc:sldMkLst>
        <pc:spChg chg="mod ord">
          <ac:chgData name="Timo Gossen" userId="4ec7f864-84f7-407f-b8f9-5c31d0de0089" providerId="ADAL" clId="{E96548DA-82A4-4619-99EB-E337E7C91CE6}" dt="2021-02-15T13:32:28.833" v="112" actId="700"/>
          <ac:spMkLst>
            <pc:docMk/>
            <pc:sldMk cId="855631851" sldId="1796"/>
            <ac:spMk id="2" creationId="{45010FE8-BF09-4146-B084-66CB05B66FD9}"/>
          </ac:spMkLst>
        </pc:spChg>
        <pc:spChg chg="del">
          <ac:chgData name="Timo Gossen" userId="4ec7f864-84f7-407f-b8f9-5c31d0de0089" providerId="ADAL" clId="{E96548DA-82A4-4619-99EB-E337E7C91CE6}" dt="2021-02-15T13:32:27.027" v="111" actId="478"/>
          <ac:spMkLst>
            <pc:docMk/>
            <pc:sldMk cId="855631851" sldId="1796"/>
            <ac:spMk id="9" creationId="{7BCE2C40-90DB-4FC2-953D-507B8E0183F5}"/>
          </ac:spMkLst>
        </pc:spChg>
      </pc:sldChg>
      <pc:sldChg chg="delSp modSp mod modClrScheme chgLayout">
        <pc:chgData name="Timo Gossen" userId="4ec7f864-84f7-407f-b8f9-5c31d0de0089" providerId="ADAL" clId="{E96548DA-82A4-4619-99EB-E337E7C91CE6}" dt="2021-02-15T13:32:34.792" v="114" actId="700"/>
        <pc:sldMkLst>
          <pc:docMk/>
          <pc:sldMk cId="2633977528" sldId="1798"/>
        </pc:sldMkLst>
        <pc:spChg chg="mod ord">
          <ac:chgData name="Timo Gossen" userId="4ec7f864-84f7-407f-b8f9-5c31d0de0089" providerId="ADAL" clId="{E96548DA-82A4-4619-99EB-E337E7C91CE6}" dt="2021-02-15T13:32:34.792" v="114" actId="700"/>
          <ac:spMkLst>
            <pc:docMk/>
            <pc:sldMk cId="2633977528" sldId="1798"/>
            <ac:spMk id="2" creationId="{45010FE8-BF09-4146-B084-66CB05B66FD9}"/>
          </ac:spMkLst>
        </pc:spChg>
        <pc:spChg chg="del">
          <ac:chgData name="Timo Gossen" userId="4ec7f864-84f7-407f-b8f9-5c31d0de0089" providerId="ADAL" clId="{E96548DA-82A4-4619-99EB-E337E7C91CE6}" dt="2021-02-15T13:32:33.448" v="113" actId="478"/>
          <ac:spMkLst>
            <pc:docMk/>
            <pc:sldMk cId="2633977528" sldId="1798"/>
            <ac:spMk id="9" creationId="{87A46D8A-4DC1-4337-8C6F-46DCD83BAF11}"/>
          </ac:spMkLst>
        </pc:spChg>
      </pc:sldChg>
      <pc:sldChg chg="modSp mod">
        <pc:chgData name="Timo Gossen" userId="4ec7f864-84f7-407f-b8f9-5c31d0de0089" providerId="ADAL" clId="{E96548DA-82A4-4619-99EB-E337E7C91CE6}" dt="2021-02-15T13:27:59.970" v="75" actId="20577"/>
        <pc:sldMkLst>
          <pc:docMk/>
          <pc:sldMk cId="1129933908" sldId="3129"/>
        </pc:sldMkLst>
        <pc:spChg chg="mod">
          <ac:chgData name="Timo Gossen" userId="4ec7f864-84f7-407f-b8f9-5c31d0de0089" providerId="ADAL" clId="{E96548DA-82A4-4619-99EB-E337E7C91CE6}" dt="2021-02-15T13:27:59.970" v="75" actId="20577"/>
          <ac:spMkLst>
            <pc:docMk/>
            <pc:sldMk cId="1129933908" sldId="3129"/>
            <ac:spMk id="4" creationId="{00000000-0000-0000-0000-000000000000}"/>
          </ac:spMkLst>
        </pc:spChg>
      </pc:sldChg>
      <pc:sldChg chg="delSp modSp mod modClrScheme chgLayout">
        <pc:chgData name="Timo Gossen" userId="4ec7f864-84f7-407f-b8f9-5c31d0de0089" providerId="ADAL" clId="{E96548DA-82A4-4619-99EB-E337E7C91CE6}" dt="2021-02-15T13:32:13.256" v="106" actId="478"/>
        <pc:sldMkLst>
          <pc:docMk/>
          <pc:sldMk cId="2356428871" sldId="3131"/>
        </pc:sldMkLst>
        <pc:spChg chg="mod ord">
          <ac:chgData name="Timo Gossen" userId="4ec7f864-84f7-407f-b8f9-5c31d0de0089" providerId="ADAL" clId="{E96548DA-82A4-4619-99EB-E337E7C91CE6}" dt="2021-02-15T13:32:11.277" v="105" actId="700"/>
          <ac:spMkLst>
            <pc:docMk/>
            <pc:sldMk cId="2356428871" sldId="3131"/>
            <ac:spMk id="2" creationId="{45010FE8-BF09-4146-B084-66CB05B66FD9}"/>
          </ac:spMkLst>
        </pc:spChg>
        <pc:spChg chg="del">
          <ac:chgData name="Timo Gossen" userId="4ec7f864-84f7-407f-b8f9-5c31d0de0089" providerId="ADAL" clId="{E96548DA-82A4-4619-99EB-E337E7C91CE6}" dt="2021-02-15T13:32:13.256" v="106" actId="478"/>
          <ac:spMkLst>
            <pc:docMk/>
            <pc:sldMk cId="2356428871" sldId="3131"/>
            <ac:spMk id="52" creationId="{F23E2C28-CB8E-4744-9410-C2E970FCFB05}"/>
          </ac:spMkLst>
        </pc:spChg>
      </pc:sldChg>
      <pc:sldChg chg="delSp modSp mod modClrScheme chgLayout">
        <pc:chgData name="Timo Gossen" userId="4ec7f864-84f7-407f-b8f9-5c31d0de0089" providerId="ADAL" clId="{E96548DA-82A4-4619-99EB-E337E7C91CE6}" dt="2021-02-15T13:32:24.064" v="110" actId="700"/>
        <pc:sldMkLst>
          <pc:docMk/>
          <pc:sldMk cId="998631707" sldId="3133"/>
        </pc:sldMkLst>
        <pc:spChg chg="mod ord">
          <ac:chgData name="Timo Gossen" userId="4ec7f864-84f7-407f-b8f9-5c31d0de0089" providerId="ADAL" clId="{E96548DA-82A4-4619-99EB-E337E7C91CE6}" dt="2021-02-15T13:32:24.064" v="110" actId="700"/>
          <ac:spMkLst>
            <pc:docMk/>
            <pc:sldMk cId="998631707" sldId="3133"/>
            <ac:spMk id="2" creationId="{45010FE8-BF09-4146-B084-66CB05B66FD9}"/>
          </ac:spMkLst>
        </pc:spChg>
        <pc:spChg chg="del">
          <ac:chgData name="Timo Gossen" userId="4ec7f864-84f7-407f-b8f9-5c31d0de0089" providerId="ADAL" clId="{E96548DA-82A4-4619-99EB-E337E7C91CE6}" dt="2021-02-15T13:32:21.897" v="109" actId="478"/>
          <ac:spMkLst>
            <pc:docMk/>
            <pc:sldMk cId="998631707" sldId="3133"/>
            <ac:spMk id="45" creationId="{4DE82F5C-6E24-415F-943A-B59D4457604E}"/>
          </ac:spMkLst>
        </pc:spChg>
      </pc:sldChg>
      <pc:sldMasterChg chg="addSldLayout delSldLayout modSldLayout">
        <pc:chgData name="Timo Gossen" userId="4ec7f864-84f7-407f-b8f9-5c31d0de0089" providerId="ADAL" clId="{E96548DA-82A4-4619-99EB-E337E7C91CE6}" dt="2021-02-15T13:32:53.018" v="115" actId="122"/>
        <pc:sldMasterMkLst>
          <pc:docMk/>
          <pc:sldMasterMk cId="3588427678" sldId="2147484229"/>
        </pc:sldMasterMkLst>
        <pc:sldLayoutChg chg="del">
          <pc:chgData name="Timo Gossen" userId="4ec7f864-84f7-407f-b8f9-5c31d0de0089" providerId="ADAL" clId="{E96548DA-82A4-4619-99EB-E337E7C91CE6}" dt="2021-02-09T16:58:05.353" v="6" actId="2696"/>
          <pc:sldLayoutMkLst>
            <pc:docMk/>
            <pc:sldMasterMk cId="3588427678" sldId="2147484229"/>
            <pc:sldLayoutMk cId="3017430946" sldId="2147484580"/>
          </pc:sldLayoutMkLst>
        </pc:sldLayoutChg>
        <pc:sldLayoutChg chg="add del">
          <pc:chgData name="Timo Gossen" userId="4ec7f864-84f7-407f-b8f9-5c31d0de0089" providerId="ADAL" clId="{E96548DA-82A4-4619-99EB-E337E7C91CE6}" dt="2021-02-15T13:27:18.975" v="69" actId="2696"/>
          <pc:sldLayoutMkLst>
            <pc:docMk/>
            <pc:sldMasterMk cId="3588427678" sldId="2147484229"/>
            <pc:sldLayoutMk cId="1165025546" sldId="2147484787"/>
          </pc:sldLayoutMkLst>
        </pc:sldLayoutChg>
        <pc:sldLayoutChg chg="del">
          <pc:chgData name="Timo Gossen" userId="4ec7f864-84f7-407f-b8f9-5c31d0de0089" providerId="ADAL" clId="{E96548DA-82A4-4619-99EB-E337E7C91CE6}" dt="2021-02-09T16:58:10.060" v="9" actId="2696"/>
          <pc:sldLayoutMkLst>
            <pc:docMk/>
            <pc:sldMasterMk cId="3588427678" sldId="2147484229"/>
            <pc:sldLayoutMk cId="1948112344" sldId="2147484833"/>
          </pc:sldLayoutMkLst>
        </pc:sldLayoutChg>
        <pc:sldLayoutChg chg="del">
          <pc:chgData name="Timo Gossen" userId="4ec7f864-84f7-407f-b8f9-5c31d0de0089" providerId="ADAL" clId="{E96548DA-82A4-4619-99EB-E337E7C91CE6}" dt="2021-02-09T16:58:10.536" v="10" actId="2696"/>
          <pc:sldLayoutMkLst>
            <pc:docMk/>
            <pc:sldMasterMk cId="3588427678" sldId="2147484229"/>
            <pc:sldLayoutMk cId="2651151599" sldId="2147484834"/>
          </pc:sldLayoutMkLst>
        </pc:sldLayoutChg>
        <pc:sldLayoutChg chg="del">
          <pc:chgData name="Timo Gossen" userId="4ec7f864-84f7-407f-b8f9-5c31d0de0089" providerId="ADAL" clId="{E96548DA-82A4-4619-99EB-E337E7C91CE6}" dt="2021-02-09T16:58:10.955" v="11" actId="2696"/>
          <pc:sldLayoutMkLst>
            <pc:docMk/>
            <pc:sldMasterMk cId="3588427678" sldId="2147484229"/>
            <pc:sldLayoutMk cId="1335627901" sldId="2147484835"/>
          </pc:sldLayoutMkLst>
        </pc:sldLayoutChg>
        <pc:sldLayoutChg chg="del">
          <pc:chgData name="Timo Gossen" userId="4ec7f864-84f7-407f-b8f9-5c31d0de0089" providerId="ADAL" clId="{E96548DA-82A4-4619-99EB-E337E7C91CE6}" dt="2021-02-09T16:58:14.633" v="15" actId="2696"/>
          <pc:sldLayoutMkLst>
            <pc:docMk/>
            <pc:sldMasterMk cId="3588427678" sldId="2147484229"/>
            <pc:sldLayoutMk cId="1390838193" sldId="2147484839"/>
          </pc:sldLayoutMkLst>
        </pc:sldLayoutChg>
        <pc:sldLayoutChg chg="del">
          <pc:chgData name="Timo Gossen" userId="4ec7f864-84f7-407f-b8f9-5c31d0de0089" providerId="ADAL" clId="{E96548DA-82A4-4619-99EB-E337E7C91CE6}" dt="2021-02-09T16:58:16.439" v="16" actId="2696"/>
          <pc:sldLayoutMkLst>
            <pc:docMk/>
            <pc:sldMasterMk cId="3588427678" sldId="2147484229"/>
            <pc:sldLayoutMk cId="1725136582" sldId="2147484840"/>
          </pc:sldLayoutMkLst>
        </pc:sldLayoutChg>
        <pc:sldLayoutChg chg="del">
          <pc:chgData name="Timo Gossen" userId="4ec7f864-84f7-407f-b8f9-5c31d0de0089" providerId="ADAL" clId="{E96548DA-82A4-4619-99EB-E337E7C91CE6}" dt="2021-02-09T16:58:16.893" v="17" actId="2696"/>
          <pc:sldLayoutMkLst>
            <pc:docMk/>
            <pc:sldMasterMk cId="3588427678" sldId="2147484229"/>
            <pc:sldLayoutMk cId="646059488" sldId="2147484841"/>
          </pc:sldLayoutMkLst>
        </pc:sldLayoutChg>
        <pc:sldLayoutChg chg="del">
          <pc:chgData name="Timo Gossen" userId="4ec7f864-84f7-407f-b8f9-5c31d0de0089" providerId="ADAL" clId="{E96548DA-82A4-4619-99EB-E337E7C91CE6}" dt="2021-02-09T16:58:17.387" v="18" actId="2696"/>
          <pc:sldLayoutMkLst>
            <pc:docMk/>
            <pc:sldMasterMk cId="3588427678" sldId="2147484229"/>
            <pc:sldLayoutMk cId="842252135" sldId="2147484842"/>
          </pc:sldLayoutMkLst>
        </pc:sldLayoutChg>
        <pc:sldLayoutChg chg="del">
          <pc:chgData name="Timo Gossen" userId="4ec7f864-84f7-407f-b8f9-5c31d0de0089" providerId="ADAL" clId="{E96548DA-82A4-4619-99EB-E337E7C91CE6}" dt="2021-02-09T16:58:18.535" v="19" actId="2696"/>
          <pc:sldLayoutMkLst>
            <pc:docMk/>
            <pc:sldMasterMk cId="3588427678" sldId="2147484229"/>
            <pc:sldLayoutMk cId="3474357050" sldId="2147484843"/>
          </pc:sldLayoutMkLst>
        </pc:sldLayoutChg>
        <pc:sldLayoutChg chg="del">
          <pc:chgData name="Timo Gossen" userId="4ec7f864-84f7-407f-b8f9-5c31d0de0089" providerId="ADAL" clId="{E96548DA-82A4-4619-99EB-E337E7C91CE6}" dt="2021-02-09T16:58:11.390" v="12" actId="2696"/>
          <pc:sldLayoutMkLst>
            <pc:docMk/>
            <pc:sldMasterMk cId="3588427678" sldId="2147484229"/>
            <pc:sldLayoutMk cId="3861443602" sldId="2147484922"/>
          </pc:sldLayoutMkLst>
        </pc:sldLayoutChg>
        <pc:sldLayoutChg chg="del">
          <pc:chgData name="Timo Gossen" userId="4ec7f864-84f7-407f-b8f9-5c31d0de0089" providerId="ADAL" clId="{E96548DA-82A4-4619-99EB-E337E7C91CE6}" dt="2021-02-09T16:58:13.608" v="13" actId="2696"/>
          <pc:sldLayoutMkLst>
            <pc:docMk/>
            <pc:sldMasterMk cId="3588427678" sldId="2147484229"/>
            <pc:sldLayoutMk cId="2603402083" sldId="2147484923"/>
          </pc:sldLayoutMkLst>
        </pc:sldLayoutChg>
        <pc:sldLayoutChg chg="del">
          <pc:chgData name="Timo Gossen" userId="4ec7f864-84f7-407f-b8f9-5c31d0de0089" providerId="ADAL" clId="{E96548DA-82A4-4619-99EB-E337E7C91CE6}" dt="2021-02-09T16:58:14.140" v="14" actId="2696"/>
          <pc:sldLayoutMkLst>
            <pc:docMk/>
            <pc:sldMasterMk cId="3588427678" sldId="2147484229"/>
            <pc:sldLayoutMk cId="1096866871" sldId="2147484924"/>
          </pc:sldLayoutMkLst>
        </pc:sldLayoutChg>
        <pc:sldLayoutChg chg="add del">
          <pc:chgData name="Timo Gossen" userId="4ec7f864-84f7-407f-b8f9-5c31d0de0089" providerId="ADAL" clId="{E96548DA-82A4-4619-99EB-E337E7C91CE6}" dt="2021-02-15T13:27:19.473" v="70" actId="2696"/>
          <pc:sldLayoutMkLst>
            <pc:docMk/>
            <pc:sldMasterMk cId="3588427678" sldId="2147484229"/>
            <pc:sldLayoutMk cId="55837859" sldId="2147484931"/>
          </pc:sldLayoutMkLst>
        </pc:sldLayoutChg>
        <pc:sldLayoutChg chg="del">
          <pc:chgData name="Timo Gossen" userId="4ec7f864-84f7-407f-b8f9-5c31d0de0089" providerId="ADAL" clId="{E96548DA-82A4-4619-99EB-E337E7C91CE6}" dt="2021-02-09T16:58:21.199" v="20" actId="2696"/>
          <pc:sldLayoutMkLst>
            <pc:docMk/>
            <pc:sldMasterMk cId="3588427678" sldId="2147484229"/>
            <pc:sldLayoutMk cId="2747809149" sldId="2147484935"/>
          </pc:sldLayoutMkLst>
        </pc:sldLayoutChg>
        <pc:sldLayoutChg chg="del">
          <pc:chgData name="Timo Gossen" userId="4ec7f864-84f7-407f-b8f9-5c31d0de0089" providerId="ADAL" clId="{E96548DA-82A4-4619-99EB-E337E7C91CE6}" dt="2021-02-09T16:58:21.734" v="21" actId="2696"/>
          <pc:sldLayoutMkLst>
            <pc:docMk/>
            <pc:sldMasterMk cId="3588427678" sldId="2147484229"/>
            <pc:sldLayoutMk cId="1268221172" sldId="2147484936"/>
          </pc:sldLayoutMkLst>
        </pc:sldLayoutChg>
        <pc:sldLayoutChg chg="del">
          <pc:chgData name="Timo Gossen" userId="4ec7f864-84f7-407f-b8f9-5c31d0de0089" providerId="ADAL" clId="{E96548DA-82A4-4619-99EB-E337E7C91CE6}" dt="2021-02-09T16:58:22.243" v="22" actId="2696"/>
          <pc:sldLayoutMkLst>
            <pc:docMk/>
            <pc:sldMasterMk cId="3588427678" sldId="2147484229"/>
            <pc:sldLayoutMk cId="2144532524" sldId="2147484937"/>
          </pc:sldLayoutMkLst>
        </pc:sldLayoutChg>
        <pc:sldLayoutChg chg="del">
          <pc:chgData name="Timo Gossen" userId="4ec7f864-84f7-407f-b8f9-5c31d0de0089" providerId="ADAL" clId="{E96548DA-82A4-4619-99EB-E337E7C91CE6}" dt="2021-02-09T16:58:02.958" v="4" actId="2696"/>
          <pc:sldLayoutMkLst>
            <pc:docMk/>
            <pc:sldMasterMk cId="3588427678" sldId="2147484229"/>
            <pc:sldLayoutMk cId="3318732388" sldId="2147484943"/>
          </pc:sldLayoutMkLst>
        </pc:sldLayoutChg>
        <pc:sldLayoutChg chg="del">
          <pc:chgData name="Timo Gossen" userId="4ec7f864-84f7-407f-b8f9-5c31d0de0089" providerId="ADAL" clId="{E96548DA-82A4-4619-99EB-E337E7C91CE6}" dt="2021-02-09T16:58:01.662" v="2" actId="2696"/>
          <pc:sldLayoutMkLst>
            <pc:docMk/>
            <pc:sldMasterMk cId="3588427678" sldId="2147484229"/>
            <pc:sldLayoutMk cId="2037702073" sldId="2147484944"/>
          </pc:sldLayoutMkLst>
        </pc:sldLayoutChg>
        <pc:sldLayoutChg chg="del">
          <pc:chgData name="Timo Gossen" userId="4ec7f864-84f7-407f-b8f9-5c31d0de0089" providerId="ADAL" clId="{E96548DA-82A4-4619-99EB-E337E7C91CE6}" dt="2021-02-09T16:58:06.079" v="7" actId="2696"/>
          <pc:sldLayoutMkLst>
            <pc:docMk/>
            <pc:sldMasterMk cId="3588427678" sldId="2147484229"/>
            <pc:sldLayoutMk cId="2691252822" sldId="2147484955"/>
          </pc:sldLayoutMkLst>
        </pc:sldLayoutChg>
        <pc:sldLayoutChg chg="del">
          <pc:chgData name="Timo Gossen" userId="4ec7f864-84f7-407f-b8f9-5c31d0de0089" providerId="ADAL" clId="{E96548DA-82A4-4619-99EB-E337E7C91CE6}" dt="2021-02-09T16:57:59.643" v="0" actId="2696"/>
          <pc:sldLayoutMkLst>
            <pc:docMk/>
            <pc:sldMasterMk cId="3588427678" sldId="2147484229"/>
            <pc:sldLayoutMk cId="2191972190" sldId="2147484956"/>
          </pc:sldLayoutMkLst>
        </pc:sldLayoutChg>
        <pc:sldLayoutChg chg="del">
          <pc:chgData name="Timo Gossen" userId="4ec7f864-84f7-407f-b8f9-5c31d0de0089" providerId="ADAL" clId="{E96548DA-82A4-4619-99EB-E337E7C91CE6}" dt="2021-02-09T16:58:06.647" v="8" actId="2696"/>
          <pc:sldLayoutMkLst>
            <pc:docMk/>
            <pc:sldMasterMk cId="3588427678" sldId="2147484229"/>
            <pc:sldLayoutMk cId="1195232922" sldId="2147484957"/>
          </pc:sldLayoutMkLst>
        </pc:sldLayoutChg>
        <pc:sldLayoutChg chg="del">
          <pc:chgData name="Timo Gossen" userId="4ec7f864-84f7-407f-b8f9-5c31d0de0089" providerId="ADAL" clId="{E96548DA-82A4-4619-99EB-E337E7C91CE6}" dt="2021-02-09T16:58:00.925" v="1" actId="2696"/>
          <pc:sldLayoutMkLst>
            <pc:docMk/>
            <pc:sldMasterMk cId="3588427678" sldId="2147484229"/>
            <pc:sldLayoutMk cId="2160366155" sldId="2147484958"/>
          </pc:sldLayoutMkLst>
        </pc:sldLayoutChg>
        <pc:sldLayoutChg chg="del">
          <pc:chgData name="Timo Gossen" userId="4ec7f864-84f7-407f-b8f9-5c31d0de0089" providerId="ADAL" clId="{E96548DA-82A4-4619-99EB-E337E7C91CE6}" dt="2021-02-09T16:58:02.248" v="3" actId="2696"/>
          <pc:sldLayoutMkLst>
            <pc:docMk/>
            <pc:sldMasterMk cId="3588427678" sldId="2147484229"/>
            <pc:sldLayoutMk cId="1561540997" sldId="2147484961"/>
          </pc:sldLayoutMkLst>
        </pc:sldLayoutChg>
        <pc:sldLayoutChg chg="del">
          <pc:chgData name="Timo Gossen" userId="4ec7f864-84f7-407f-b8f9-5c31d0de0089" providerId="ADAL" clId="{E96548DA-82A4-4619-99EB-E337E7C91CE6}" dt="2021-02-09T16:58:03.673" v="5" actId="2696"/>
          <pc:sldLayoutMkLst>
            <pc:docMk/>
            <pc:sldMasterMk cId="3588427678" sldId="2147484229"/>
            <pc:sldLayoutMk cId="1381327787" sldId="2147484962"/>
          </pc:sldLayoutMkLst>
        </pc:sldLayoutChg>
        <pc:sldLayoutChg chg="addSp modSp add mod modTransition">
          <pc:chgData name="Timo Gossen" userId="4ec7f864-84f7-407f-b8f9-5c31d0de0089" providerId="ADAL" clId="{E96548DA-82A4-4619-99EB-E337E7C91CE6}" dt="2021-02-15T13:32:53.018" v="115" actId="122"/>
          <pc:sldLayoutMkLst>
            <pc:docMk/>
            <pc:sldMasterMk cId="3588427678" sldId="2147484229"/>
            <pc:sldLayoutMk cId="2154412804" sldId="2147484977"/>
          </pc:sldLayoutMkLst>
          <pc:spChg chg="add mod">
            <ac:chgData name="Timo Gossen" userId="4ec7f864-84f7-407f-b8f9-5c31d0de0089" providerId="ADAL" clId="{E96548DA-82A4-4619-99EB-E337E7C91CE6}" dt="2021-02-15T13:32:53.018" v="115" actId="122"/>
            <ac:spMkLst>
              <pc:docMk/>
              <pc:sldMasterMk cId="3588427678" sldId="2147484229"/>
              <pc:sldLayoutMk cId="2154412804" sldId="2147484977"/>
              <ac:spMk id="4" creationId="{85A24502-5279-4F93-A7E2-CBF354F80225}"/>
            </ac:spMkLst>
          </pc:spChg>
        </pc:sldLayoutChg>
      </pc:sldMasterChg>
      <pc:sldMasterChg chg="del delSldLayout">
        <pc:chgData name="Timo Gossen" userId="4ec7f864-84f7-407f-b8f9-5c31d0de0089" providerId="ADAL" clId="{E96548DA-82A4-4619-99EB-E337E7C91CE6}" dt="2021-02-15T13:26:56.876" v="66" actId="2696"/>
        <pc:sldMasterMkLst>
          <pc:docMk/>
          <pc:sldMasterMk cId="3852015802" sldId="2147484877"/>
        </pc:sldMasterMkLst>
        <pc:sldLayoutChg chg="del">
          <pc:chgData name="Timo Gossen" userId="4ec7f864-84f7-407f-b8f9-5c31d0de0089" providerId="ADAL" clId="{E96548DA-82A4-4619-99EB-E337E7C91CE6}" dt="2021-02-15T13:26:55.027" v="64" actId="2696"/>
          <pc:sldLayoutMkLst>
            <pc:docMk/>
            <pc:sldMasterMk cId="3852015802" sldId="2147484877"/>
            <pc:sldLayoutMk cId="693103414" sldId="2147484880"/>
          </pc:sldLayoutMkLst>
        </pc:sldLayoutChg>
        <pc:sldLayoutChg chg="del">
          <pc:chgData name="Timo Gossen" userId="4ec7f864-84f7-407f-b8f9-5c31d0de0089" providerId="ADAL" clId="{E96548DA-82A4-4619-99EB-E337E7C91CE6}" dt="2021-02-09T16:58:47.892" v="32" actId="2696"/>
          <pc:sldLayoutMkLst>
            <pc:docMk/>
            <pc:sldMasterMk cId="3852015802" sldId="2147484877"/>
            <pc:sldLayoutMk cId="2745884768" sldId="2147484882"/>
          </pc:sldLayoutMkLst>
        </pc:sldLayoutChg>
        <pc:sldLayoutChg chg="del">
          <pc:chgData name="Timo Gossen" userId="4ec7f864-84f7-407f-b8f9-5c31d0de0089" providerId="ADAL" clId="{E96548DA-82A4-4619-99EB-E337E7C91CE6}" dt="2021-02-09T16:58:47.911" v="33" actId="2696"/>
          <pc:sldLayoutMkLst>
            <pc:docMk/>
            <pc:sldMasterMk cId="3852015802" sldId="2147484877"/>
            <pc:sldLayoutMk cId="3160410916" sldId="2147484883"/>
          </pc:sldLayoutMkLst>
        </pc:sldLayoutChg>
        <pc:sldLayoutChg chg="del">
          <pc:chgData name="Timo Gossen" userId="4ec7f864-84f7-407f-b8f9-5c31d0de0089" providerId="ADAL" clId="{E96548DA-82A4-4619-99EB-E337E7C91CE6}" dt="2021-02-09T16:58:47.999" v="36" actId="2696"/>
          <pc:sldLayoutMkLst>
            <pc:docMk/>
            <pc:sldMasterMk cId="3852015802" sldId="2147484877"/>
            <pc:sldLayoutMk cId="3687298653" sldId="2147484886"/>
          </pc:sldLayoutMkLst>
        </pc:sldLayoutChg>
        <pc:sldLayoutChg chg="del">
          <pc:chgData name="Timo Gossen" userId="4ec7f864-84f7-407f-b8f9-5c31d0de0089" providerId="ADAL" clId="{E96548DA-82A4-4619-99EB-E337E7C91CE6}" dt="2021-02-09T16:58:48.007" v="37" actId="2696"/>
          <pc:sldLayoutMkLst>
            <pc:docMk/>
            <pc:sldMasterMk cId="3852015802" sldId="2147484877"/>
            <pc:sldLayoutMk cId="3308863613" sldId="2147484887"/>
          </pc:sldLayoutMkLst>
        </pc:sldLayoutChg>
        <pc:sldLayoutChg chg="del">
          <pc:chgData name="Timo Gossen" userId="4ec7f864-84f7-407f-b8f9-5c31d0de0089" providerId="ADAL" clId="{E96548DA-82A4-4619-99EB-E337E7C91CE6}" dt="2021-02-09T16:58:48.054" v="41" actId="2696"/>
          <pc:sldLayoutMkLst>
            <pc:docMk/>
            <pc:sldMasterMk cId="3852015802" sldId="2147484877"/>
            <pc:sldLayoutMk cId="3841903408" sldId="2147484888"/>
          </pc:sldLayoutMkLst>
        </pc:sldLayoutChg>
        <pc:sldLayoutChg chg="del">
          <pc:chgData name="Timo Gossen" userId="4ec7f864-84f7-407f-b8f9-5c31d0de0089" providerId="ADAL" clId="{E96548DA-82A4-4619-99EB-E337E7C91CE6}" dt="2021-02-09T16:58:48.072" v="42" actId="2696"/>
          <pc:sldLayoutMkLst>
            <pc:docMk/>
            <pc:sldMasterMk cId="3852015802" sldId="2147484877"/>
            <pc:sldLayoutMk cId="2373771252" sldId="2147484889"/>
          </pc:sldLayoutMkLst>
        </pc:sldLayoutChg>
        <pc:sldLayoutChg chg="del">
          <pc:chgData name="Timo Gossen" userId="4ec7f864-84f7-407f-b8f9-5c31d0de0089" providerId="ADAL" clId="{E96548DA-82A4-4619-99EB-E337E7C91CE6}" dt="2021-02-09T16:58:48.076" v="43" actId="2696"/>
          <pc:sldLayoutMkLst>
            <pc:docMk/>
            <pc:sldMasterMk cId="3852015802" sldId="2147484877"/>
            <pc:sldLayoutMk cId="2626824655" sldId="2147484890"/>
          </pc:sldLayoutMkLst>
        </pc:sldLayoutChg>
        <pc:sldLayoutChg chg="del">
          <pc:chgData name="Timo Gossen" userId="4ec7f864-84f7-407f-b8f9-5c31d0de0089" providerId="ADAL" clId="{E96548DA-82A4-4619-99EB-E337E7C91CE6}" dt="2021-02-09T16:58:48.111" v="47" actId="2696"/>
          <pc:sldLayoutMkLst>
            <pc:docMk/>
            <pc:sldMasterMk cId="3852015802" sldId="2147484877"/>
            <pc:sldLayoutMk cId="2664499213" sldId="2147484894"/>
          </pc:sldLayoutMkLst>
        </pc:sldLayoutChg>
        <pc:sldLayoutChg chg="del">
          <pc:chgData name="Timo Gossen" userId="4ec7f864-84f7-407f-b8f9-5c31d0de0089" providerId="ADAL" clId="{E96548DA-82A4-4619-99EB-E337E7C91CE6}" dt="2021-02-09T16:58:48.125" v="48" actId="2696"/>
          <pc:sldLayoutMkLst>
            <pc:docMk/>
            <pc:sldMasterMk cId="3852015802" sldId="2147484877"/>
            <pc:sldLayoutMk cId="1000833516" sldId="2147484895"/>
          </pc:sldLayoutMkLst>
        </pc:sldLayoutChg>
        <pc:sldLayoutChg chg="del">
          <pc:chgData name="Timo Gossen" userId="4ec7f864-84f7-407f-b8f9-5c31d0de0089" providerId="ADAL" clId="{E96548DA-82A4-4619-99EB-E337E7C91CE6}" dt="2021-02-09T16:58:48.138" v="49" actId="2696"/>
          <pc:sldLayoutMkLst>
            <pc:docMk/>
            <pc:sldMasterMk cId="3852015802" sldId="2147484877"/>
            <pc:sldLayoutMk cId="3339792509" sldId="2147484896"/>
          </pc:sldLayoutMkLst>
        </pc:sldLayoutChg>
        <pc:sldLayoutChg chg="del">
          <pc:chgData name="Timo Gossen" userId="4ec7f864-84f7-407f-b8f9-5c31d0de0089" providerId="ADAL" clId="{E96548DA-82A4-4619-99EB-E337E7C91CE6}" dt="2021-02-09T16:58:48.157" v="50" actId="2696"/>
          <pc:sldLayoutMkLst>
            <pc:docMk/>
            <pc:sldMasterMk cId="3852015802" sldId="2147484877"/>
            <pc:sldLayoutMk cId="2990238365" sldId="2147484897"/>
          </pc:sldLayoutMkLst>
        </pc:sldLayoutChg>
        <pc:sldLayoutChg chg="del">
          <pc:chgData name="Timo Gossen" userId="4ec7f864-84f7-407f-b8f9-5c31d0de0089" providerId="ADAL" clId="{E96548DA-82A4-4619-99EB-E337E7C91CE6}" dt="2021-02-09T16:58:48.179" v="51" actId="2696"/>
          <pc:sldLayoutMkLst>
            <pc:docMk/>
            <pc:sldMasterMk cId="3852015802" sldId="2147484877"/>
            <pc:sldLayoutMk cId="4263204189" sldId="2147484898"/>
          </pc:sldLayoutMkLst>
        </pc:sldLayoutChg>
        <pc:sldLayoutChg chg="del">
          <pc:chgData name="Timo Gossen" userId="4ec7f864-84f7-407f-b8f9-5c31d0de0089" providerId="ADAL" clId="{E96548DA-82A4-4619-99EB-E337E7C91CE6}" dt="2021-02-09T16:58:48.193" v="53" actId="2696"/>
          <pc:sldLayoutMkLst>
            <pc:docMk/>
            <pc:sldMasterMk cId="3852015802" sldId="2147484877"/>
            <pc:sldLayoutMk cId="1798335702" sldId="2147484900"/>
          </pc:sldLayoutMkLst>
        </pc:sldLayoutChg>
        <pc:sldLayoutChg chg="del">
          <pc:chgData name="Timo Gossen" userId="4ec7f864-84f7-407f-b8f9-5c31d0de0089" providerId="ADAL" clId="{E96548DA-82A4-4619-99EB-E337E7C91CE6}" dt="2021-02-09T16:58:48.199" v="54" actId="2696"/>
          <pc:sldLayoutMkLst>
            <pc:docMk/>
            <pc:sldMasterMk cId="3852015802" sldId="2147484877"/>
            <pc:sldLayoutMk cId="3283456405" sldId="2147484901"/>
          </pc:sldLayoutMkLst>
        </pc:sldLayoutChg>
        <pc:sldLayoutChg chg="del">
          <pc:chgData name="Timo Gossen" userId="4ec7f864-84f7-407f-b8f9-5c31d0de0089" providerId="ADAL" clId="{E96548DA-82A4-4619-99EB-E337E7C91CE6}" dt="2021-02-15T13:26:55.004" v="61" actId="2696"/>
          <pc:sldLayoutMkLst>
            <pc:docMk/>
            <pc:sldMasterMk cId="3852015802" sldId="2147484877"/>
            <pc:sldLayoutMk cId="3927896387" sldId="2147484903"/>
          </pc:sldLayoutMkLst>
        </pc:sldLayoutChg>
        <pc:sldLayoutChg chg="del">
          <pc:chgData name="Timo Gossen" userId="4ec7f864-84f7-407f-b8f9-5c31d0de0089" providerId="ADAL" clId="{E96548DA-82A4-4619-99EB-E337E7C91CE6}" dt="2021-02-15T13:26:54.981" v="57" actId="2696"/>
          <pc:sldLayoutMkLst>
            <pc:docMk/>
            <pc:sldMasterMk cId="3852015802" sldId="2147484877"/>
            <pc:sldLayoutMk cId="3449265278" sldId="2147484907"/>
          </pc:sldLayoutMkLst>
        </pc:sldLayoutChg>
        <pc:sldLayoutChg chg="del">
          <pc:chgData name="Timo Gossen" userId="4ec7f864-84f7-407f-b8f9-5c31d0de0089" providerId="ADAL" clId="{E96548DA-82A4-4619-99EB-E337E7C91CE6}" dt="2021-02-15T13:26:54.974" v="56" actId="2696"/>
          <pc:sldLayoutMkLst>
            <pc:docMk/>
            <pc:sldMasterMk cId="3852015802" sldId="2147484877"/>
            <pc:sldLayoutMk cId="2413689106" sldId="2147484908"/>
          </pc:sldLayoutMkLst>
        </pc:sldLayoutChg>
        <pc:sldLayoutChg chg="del">
          <pc:chgData name="Timo Gossen" userId="4ec7f864-84f7-407f-b8f9-5c31d0de0089" providerId="ADAL" clId="{E96548DA-82A4-4619-99EB-E337E7C91CE6}" dt="2021-02-15T13:26:54.969" v="55" actId="2696"/>
          <pc:sldLayoutMkLst>
            <pc:docMk/>
            <pc:sldMasterMk cId="3852015802" sldId="2147484877"/>
            <pc:sldLayoutMk cId="4269212997" sldId="2147484909"/>
          </pc:sldLayoutMkLst>
        </pc:sldLayoutChg>
        <pc:sldLayoutChg chg="del">
          <pc:chgData name="Timo Gossen" userId="4ec7f864-84f7-407f-b8f9-5c31d0de0089" providerId="ADAL" clId="{E96548DA-82A4-4619-99EB-E337E7C91CE6}" dt="2021-02-09T16:58:47.945" v="34" actId="2696"/>
          <pc:sldLayoutMkLst>
            <pc:docMk/>
            <pc:sldMasterMk cId="3852015802" sldId="2147484877"/>
            <pc:sldLayoutMk cId="930667912" sldId="2147484912"/>
          </pc:sldLayoutMkLst>
        </pc:sldLayoutChg>
        <pc:sldLayoutChg chg="del">
          <pc:chgData name="Timo Gossen" userId="4ec7f864-84f7-407f-b8f9-5c31d0de0089" providerId="ADAL" clId="{E96548DA-82A4-4619-99EB-E337E7C91CE6}" dt="2021-02-09T16:58:47.971" v="35" actId="2696"/>
          <pc:sldLayoutMkLst>
            <pc:docMk/>
            <pc:sldMasterMk cId="3852015802" sldId="2147484877"/>
            <pc:sldLayoutMk cId="2352525178" sldId="2147484913"/>
          </pc:sldLayoutMkLst>
        </pc:sldLayoutChg>
        <pc:sldLayoutChg chg="del">
          <pc:chgData name="Timo Gossen" userId="4ec7f864-84f7-407f-b8f9-5c31d0de0089" providerId="ADAL" clId="{E96548DA-82A4-4619-99EB-E337E7C91CE6}" dt="2021-02-09T16:58:48.088" v="44" actId="2696"/>
          <pc:sldLayoutMkLst>
            <pc:docMk/>
            <pc:sldMasterMk cId="3852015802" sldId="2147484877"/>
            <pc:sldLayoutMk cId="2123383375" sldId="2147484928"/>
          </pc:sldLayoutMkLst>
        </pc:sldLayoutChg>
        <pc:sldLayoutChg chg="del">
          <pc:chgData name="Timo Gossen" userId="4ec7f864-84f7-407f-b8f9-5c31d0de0089" providerId="ADAL" clId="{E96548DA-82A4-4619-99EB-E337E7C91CE6}" dt="2021-02-09T16:58:48.093" v="45" actId="2696"/>
          <pc:sldLayoutMkLst>
            <pc:docMk/>
            <pc:sldMasterMk cId="3852015802" sldId="2147484877"/>
            <pc:sldLayoutMk cId="1354863440" sldId="2147484929"/>
          </pc:sldLayoutMkLst>
        </pc:sldLayoutChg>
        <pc:sldLayoutChg chg="del">
          <pc:chgData name="Timo Gossen" userId="4ec7f864-84f7-407f-b8f9-5c31d0de0089" providerId="ADAL" clId="{E96548DA-82A4-4619-99EB-E337E7C91CE6}" dt="2021-02-09T16:58:48.105" v="46" actId="2696"/>
          <pc:sldLayoutMkLst>
            <pc:docMk/>
            <pc:sldMasterMk cId="3852015802" sldId="2147484877"/>
            <pc:sldLayoutMk cId="4266381074" sldId="2147484930"/>
          </pc:sldLayoutMkLst>
        </pc:sldLayoutChg>
        <pc:sldLayoutChg chg="del">
          <pc:chgData name="Timo Gossen" userId="4ec7f864-84f7-407f-b8f9-5c31d0de0089" providerId="ADAL" clId="{E96548DA-82A4-4619-99EB-E337E7C91CE6}" dt="2021-02-09T16:58:48.181" v="52" actId="2696"/>
          <pc:sldLayoutMkLst>
            <pc:docMk/>
            <pc:sldMasterMk cId="3852015802" sldId="2147484877"/>
            <pc:sldLayoutMk cId="529083589" sldId="2147484933"/>
          </pc:sldLayoutMkLst>
        </pc:sldLayoutChg>
        <pc:sldLayoutChg chg="del">
          <pc:chgData name="Timo Gossen" userId="4ec7f864-84f7-407f-b8f9-5c31d0de0089" providerId="ADAL" clId="{E96548DA-82A4-4619-99EB-E337E7C91CE6}" dt="2021-02-15T13:26:55.019" v="63" actId="2696"/>
          <pc:sldLayoutMkLst>
            <pc:docMk/>
            <pc:sldMasterMk cId="3852015802" sldId="2147484877"/>
            <pc:sldLayoutMk cId="2973649221" sldId="2147484950"/>
          </pc:sldLayoutMkLst>
        </pc:sldLayoutChg>
        <pc:sldLayoutChg chg="del">
          <pc:chgData name="Timo Gossen" userId="4ec7f864-84f7-407f-b8f9-5c31d0de0089" providerId="ADAL" clId="{E96548DA-82A4-4619-99EB-E337E7C91CE6}" dt="2021-02-15T13:26:55.012" v="62" actId="2696"/>
          <pc:sldLayoutMkLst>
            <pc:docMk/>
            <pc:sldMasterMk cId="3852015802" sldId="2147484877"/>
            <pc:sldLayoutMk cId="1780228471" sldId="2147484951"/>
          </pc:sldLayoutMkLst>
        </pc:sldLayoutChg>
        <pc:sldLayoutChg chg="del">
          <pc:chgData name="Timo Gossen" userId="4ec7f864-84f7-407f-b8f9-5c31d0de0089" providerId="ADAL" clId="{E96548DA-82A4-4619-99EB-E337E7C91CE6}" dt="2021-02-15T13:26:54.997" v="60" actId="2696"/>
          <pc:sldLayoutMkLst>
            <pc:docMk/>
            <pc:sldMasterMk cId="3852015802" sldId="2147484877"/>
            <pc:sldLayoutMk cId="902576282" sldId="2147484952"/>
          </pc:sldLayoutMkLst>
        </pc:sldLayoutChg>
        <pc:sldLayoutChg chg="del">
          <pc:chgData name="Timo Gossen" userId="4ec7f864-84f7-407f-b8f9-5c31d0de0089" providerId="ADAL" clId="{E96548DA-82A4-4619-99EB-E337E7C91CE6}" dt="2021-02-15T13:26:54.990" v="59" actId="2696"/>
          <pc:sldLayoutMkLst>
            <pc:docMk/>
            <pc:sldMasterMk cId="3852015802" sldId="2147484877"/>
            <pc:sldLayoutMk cId="2719457828" sldId="2147484953"/>
          </pc:sldLayoutMkLst>
        </pc:sldLayoutChg>
        <pc:sldLayoutChg chg="del">
          <pc:chgData name="Timo Gossen" userId="4ec7f864-84f7-407f-b8f9-5c31d0de0089" providerId="ADAL" clId="{E96548DA-82A4-4619-99EB-E337E7C91CE6}" dt="2021-02-15T13:26:54.985" v="58" actId="2696"/>
          <pc:sldLayoutMkLst>
            <pc:docMk/>
            <pc:sldMasterMk cId="3852015802" sldId="2147484877"/>
            <pc:sldLayoutMk cId="1566177600" sldId="2147484954"/>
          </pc:sldLayoutMkLst>
        </pc:sldLayoutChg>
        <pc:sldLayoutChg chg="del">
          <pc:chgData name="Timo Gossen" userId="4ec7f864-84f7-407f-b8f9-5c31d0de0089" providerId="ADAL" clId="{E96548DA-82A4-4619-99EB-E337E7C91CE6}" dt="2021-02-09T16:58:27.605" v="23" actId="2696"/>
          <pc:sldLayoutMkLst>
            <pc:docMk/>
            <pc:sldMasterMk cId="3852015802" sldId="2147484877"/>
            <pc:sldLayoutMk cId="2918906117" sldId="2147484963"/>
          </pc:sldLayoutMkLst>
        </pc:sldLayoutChg>
        <pc:sldLayoutChg chg="del">
          <pc:chgData name="Timo Gossen" userId="4ec7f864-84f7-407f-b8f9-5c31d0de0089" providerId="ADAL" clId="{E96548DA-82A4-4619-99EB-E337E7C91CE6}" dt="2021-02-09T16:58:28.341" v="24" actId="2696"/>
          <pc:sldLayoutMkLst>
            <pc:docMk/>
            <pc:sldMasterMk cId="3852015802" sldId="2147484877"/>
            <pc:sldLayoutMk cId="1584160678" sldId="2147484964"/>
          </pc:sldLayoutMkLst>
        </pc:sldLayoutChg>
        <pc:sldLayoutChg chg="del">
          <pc:chgData name="Timo Gossen" userId="4ec7f864-84f7-407f-b8f9-5c31d0de0089" providerId="ADAL" clId="{E96548DA-82A4-4619-99EB-E337E7C91CE6}" dt="2021-02-09T16:58:29.014" v="25" actId="2696"/>
          <pc:sldLayoutMkLst>
            <pc:docMk/>
            <pc:sldMasterMk cId="3852015802" sldId="2147484877"/>
            <pc:sldLayoutMk cId="3820529203" sldId="2147484965"/>
          </pc:sldLayoutMkLst>
        </pc:sldLayoutChg>
        <pc:sldLayoutChg chg="del">
          <pc:chgData name="Timo Gossen" userId="4ec7f864-84f7-407f-b8f9-5c31d0de0089" providerId="ADAL" clId="{E96548DA-82A4-4619-99EB-E337E7C91CE6}" dt="2021-02-15T13:26:55.038" v="65" actId="2696"/>
          <pc:sldLayoutMkLst>
            <pc:docMk/>
            <pc:sldMasterMk cId="3852015802" sldId="2147484877"/>
            <pc:sldLayoutMk cId="4031173605" sldId="2147484966"/>
          </pc:sldLayoutMkLst>
        </pc:sldLayoutChg>
        <pc:sldLayoutChg chg="del">
          <pc:chgData name="Timo Gossen" userId="4ec7f864-84f7-407f-b8f9-5c31d0de0089" providerId="ADAL" clId="{E96548DA-82A4-4619-99EB-E337E7C91CE6}" dt="2021-02-09T16:58:32.731" v="26" actId="2696"/>
          <pc:sldLayoutMkLst>
            <pc:docMk/>
            <pc:sldMasterMk cId="3852015802" sldId="2147484877"/>
            <pc:sldLayoutMk cId="3708994831" sldId="2147484967"/>
          </pc:sldLayoutMkLst>
        </pc:sldLayoutChg>
        <pc:sldLayoutChg chg="del">
          <pc:chgData name="Timo Gossen" userId="4ec7f864-84f7-407f-b8f9-5c31d0de0089" providerId="ADAL" clId="{E96548DA-82A4-4619-99EB-E337E7C91CE6}" dt="2021-02-09T16:58:33.231" v="27" actId="2696"/>
          <pc:sldLayoutMkLst>
            <pc:docMk/>
            <pc:sldMasterMk cId="3852015802" sldId="2147484877"/>
            <pc:sldLayoutMk cId="2749353902" sldId="2147484968"/>
          </pc:sldLayoutMkLst>
        </pc:sldLayoutChg>
        <pc:sldLayoutChg chg="del">
          <pc:chgData name="Timo Gossen" userId="4ec7f864-84f7-407f-b8f9-5c31d0de0089" providerId="ADAL" clId="{E96548DA-82A4-4619-99EB-E337E7C91CE6}" dt="2021-02-09T16:58:33.975" v="28" actId="2696"/>
          <pc:sldLayoutMkLst>
            <pc:docMk/>
            <pc:sldMasterMk cId="3852015802" sldId="2147484877"/>
            <pc:sldLayoutMk cId="2069016817" sldId="2147484969"/>
          </pc:sldLayoutMkLst>
        </pc:sldLayoutChg>
        <pc:sldLayoutChg chg="del">
          <pc:chgData name="Timo Gossen" userId="4ec7f864-84f7-407f-b8f9-5c31d0de0089" providerId="ADAL" clId="{E96548DA-82A4-4619-99EB-E337E7C91CE6}" dt="2021-02-09T16:58:34.465" v="29" actId="2696"/>
          <pc:sldLayoutMkLst>
            <pc:docMk/>
            <pc:sldMasterMk cId="3852015802" sldId="2147484877"/>
            <pc:sldLayoutMk cId="3881046948" sldId="2147484970"/>
          </pc:sldLayoutMkLst>
        </pc:sldLayoutChg>
        <pc:sldLayoutChg chg="del">
          <pc:chgData name="Timo Gossen" userId="4ec7f864-84f7-407f-b8f9-5c31d0de0089" providerId="ADAL" clId="{E96548DA-82A4-4619-99EB-E337E7C91CE6}" dt="2021-02-09T16:58:34.866" v="30" actId="2696"/>
          <pc:sldLayoutMkLst>
            <pc:docMk/>
            <pc:sldMasterMk cId="3852015802" sldId="2147484877"/>
            <pc:sldLayoutMk cId="3646941543" sldId="2147484971"/>
          </pc:sldLayoutMkLst>
        </pc:sldLayoutChg>
        <pc:sldLayoutChg chg="del">
          <pc:chgData name="Timo Gossen" userId="4ec7f864-84f7-407f-b8f9-5c31d0de0089" providerId="ADAL" clId="{E96548DA-82A4-4619-99EB-E337E7C91CE6}" dt="2021-02-09T16:58:36.609" v="31" actId="2696"/>
          <pc:sldLayoutMkLst>
            <pc:docMk/>
            <pc:sldMasterMk cId="3852015802" sldId="2147484877"/>
            <pc:sldLayoutMk cId="967456747" sldId="2147484972"/>
          </pc:sldLayoutMkLst>
        </pc:sldLayoutChg>
        <pc:sldLayoutChg chg="del">
          <pc:chgData name="Timo Gossen" userId="4ec7f864-84f7-407f-b8f9-5c31d0de0089" providerId="ADAL" clId="{E96548DA-82A4-4619-99EB-E337E7C91CE6}" dt="2021-02-09T16:58:48.024" v="38" actId="2696"/>
          <pc:sldLayoutMkLst>
            <pc:docMk/>
            <pc:sldMasterMk cId="3852015802" sldId="2147484877"/>
            <pc:sldLayoutMk cId="1595394804" sldId="2147484973"/>
          </pc:sldLayoutMkLst>
        </pc:sldLayoutChg>
        <pc:sldLayoutChg chg="del">
          <pc:chgData name="Timo Gossen" userId="4ec7f864-84f7-407f-b8f9-5c31d0de0089" providerId="ADAL" clId="{E96548DA-82A4-4619-99EB-E337E7C91CE6}" dt="2021-02-09T16:58:48.036" v="39" actId="2696"/>
          <pc:sldLayoutMkLst>
            <pc:docMk/>
            <pc:sldMasterMk cId="3852015802" sldId="2147484877"/>
            <pc:sldLayoutMk cId="4142220178" sldId="2147484974"/>
          </pc:sldLayoutMkLst>
        </pc:sldLayoutChg>
        <pc:sldLayoutChg chg="del">
          <pc:chgData name="Timo Gossen" userId="4ec7f864-84f7-407f-b8f9-5c31d0de0089" providerId="ADAL" clId="{E96548DA-82A4-4619-99EB-E337E7C91CE6}" dt="2021-02-09T16:58:48.049" v="40" actId="2696"/>
          <pc:sldLayoutMkLst>
            <pc:docMk/>
            <pc:sldMasterMk cId="3852015802" sldId="2147484877"/>
            <pc:sldLayoutMk cId="1208445862" sldId="2147484975"/>
          </pc:sldLayoutMkLst>
        </pc:sldLayoutChg>
      </pc:sldMasterChg>
      <pc:sldMasterChg chg="new del mod addSldLayout delSldLayout">
        <pc:chgData name="Timo Gossen" userId="4ec7f864-84f7-407f-b8f9-5c31d0de0089" providerId="ADAL" clId="{E96548DA-82A4-4619-99EB-E337E7C91CE6}" dt="2021-02-15T13:29:47.773" v="88" actId="2696"/>
        <pc:sldMasterMkLst>
          <pc:docMk/>
          <pc:sldMasterMk cId="1145012255" sldId="2147484977"/>
        </pc:sldMasterMkLst>
        <pc:sldLayoutChg chg="new del replId">
          <pc:chgData name="Timo Gossen" userId="4ec7f864-84f7-407f-b8f9-5c31d0de0089" providerId="ADAL" clId="{E96548DA-82A4-4619-99EB-E337E7C91CE6}" dt="2021-02-15T13:29:44.444" v="77" actId="2696"/>
          <pc:sldLayoutMkLst>
            <pc:docMk/>
            <pc:sldMasterMk cId="1145012255" sldId="2147484977"/>
            <pc:sldLayoutMk cId="65086298" sldId="2147484978"/>
          </pc:sldLayoutMkLst>
        </pc:sldLayoutChg>
        <pc:sldLayoutChg chg="new del replId">
          <pc:chgData name="Timo Gossen" userId="4ec7f864-84f7-407f-b8f9-5c31d0de0089" providerId="ADAL" clId="{E96548DA-82A4-4619-99EB-E337E7C91CE6}" dt="2021-02-15T13:29:44.458" v="78" actId="2696"/>
          <pc:sldLayoutMkLst>
            <pc:docMk/>
            <pc:sldMasterMk cId="1145012255" sldId="2147484977"/>
            <pc:sldLayoutMk cId="1398668861" sldId="2147484979"/>
          </pc:sldLayoutMkLst>
        </pc:sldLayoutChg>
        <pc:sldLayoutChg chg="new del replId">
          <pc:chgData name="Timo Gossen" userId="4ec7f864-84f7-407f-b8f9-5c31d0de0089" providerId="ADAL" clId="{E96548DA-82A4-4619-99EB-E337E7C91CE6}" dt="2021-02-15T13:29:44.468" v="79" actId="2696"/>
          <pc:sldLayoutMkLst>
            <pc:docMk/>
            <pc:sldMasterMk cId="1145012255" sldId="2147484977"/>
            <pc:sldLayoutMk cId="1920921613" sldId="2147484980"/>
          </pc:sldLayoutMkLst>
        </pc:sldLayoutChg>
        <pc:sldLayoutChg chg="new del replId">
          <pc:chgData name="Timo Gossen" userId="4ec7f864-84f7-407f-b8f9-5c31d0de0089" providerId="ADAL" clId="{E96548DA-82A4-4619-99EB-E337E7C91CE6}" dt="2021-02-15T13:29:44.485" v="80" actId="2696"/>
          <pc:sldLayoutMkLst>
            <pc:docMk/>
            <pc:sldMasterMk cId="1145012255" sldId="2147484977"/>
            <pc:sldLayoutMk cId="1699222653" sldId="2147484981"/>
          </pc:sldLayoutMkLst>
        </pc:sldLayoutChg>
        <pc:sldLayoutChg chg="new del replId">
          <pc:chgData name="Timo Gossen" userId="4ec7f864-84f7-407f-b8f9-5c31d0de0089" providerId="ADAL" clId="{E96548DA-82A4-4619-99EB-E337E7C91CE6}" dt="2021-02-15T13:29:44.505" v="81" actId="2696"/>
          <pc:sldLayoutMkLst>
            <pc:docMk/>
            <pc:sldMasterMk cId="1145012255" sldId="2147484977"/>
            <pc:sldLayoutMk cId="3525636711" sldId="2147484982"/>
          </pc:sldLayoutMkLst>
        </pc:sldLayoutChg>
        <pc:sldLayoutChg chg="new del replId">
          <pc:chgData name="Timo Gossen" userId="4ec7f864-84f7-407f-b8f9-5c31d0de0089" providerId="ADAL" clId="{E96548DA-82A4-4619-99EB-E337E7C91CE6}" dt="2021-02-15T13:29:44.513" v="82" actId="2696"/>
          <pc:sldLayoutMkLst>
            <pc:docMk/>
            <pc:sldMasterMk cId="1145012255" sldId="2147484977"/>
            <pc:sldLayoutMk cId="2516443099" sldId="2147484983"/>
          </pc:sldLayoutMkLst>
        </pc:sldLayoutChg>
        <pc:sldLayoutChg chg="new del replId">
          <pc:chgData name="Timo Gossen" userId="4ec7f864-84f7-407f-b8f9-5c31d0de0089" providerId="ADAL" clId="{E96548DA-82A4-4619-99EB-E337E7C91CE6}" dt="2021-02-15T13:29:44.520" v="83" actId="2696"/>
          <pc:sldLayoutMkLst>
            <pc:docMk/>
            <pc:sldMasterMk cId="1145012255" sldId="2147484977"/>
            <pc:sldLayoutMk cId="1043978543" sldId="2147484984"/>
          </pc:sldLayoutMkLst>
        </pc:sldLayoutChg>
        <pc:sldLayoutChg chg="new del replId">
          <pc:chgData name="Timo Gossen" userId="4ec7f864-84f7-407f-b8f9-5c31d0de0089" providerId="ADAL" clId="{E96548DA-82A4-4619-99EB-E337E7C91CE6}" dt="2021-02-15T13:29:44.533" v="84" actId="2696"/>
          <pc:sldLayoutMkLst>
            <pc:docMk/>
            <pc:sldMasterMk cId="1145012255" sldId="2147484977"/>
            <pc:sldLayoutMk cId="359254909" sldId="2147484985"/>
          </pc:sldLayoutMkLst>
        </pc:sldLayoutChg>
        <pc:sldLayoutChg chg="new del replId">
          <pc:chgData name="Timo Gossen" userId="4ec7f864-84f7-407f-b8f9-5c31d0de0089" providerId="ADAL" clId="{E96548DA-82A4-4619-99EB-E337E7C91CE6}" dt="2021-02-15T13:29:44.545" v="85" actId="2696"/>
          <pc:sldLayoutMkLst>
            <pc:docMk/>
            <pc:sldMasterMk cId="1145012255" sldId="2147484977"/>
            <pc:sldLayoutMk cId="2419132465" sldId="2147484986"/>
          </pc:sldLayoutMkLst>
        </pc:sldLayoutChg>
        <pc:sldLayoutChg chg="new del replId">
          <pc:chgData name="Timo Gossen" userId="4ec7f864-84f7-407f-b8f9-5c31d0de0089" providerId="ADAL" clId="{E96548DA-82A4-4619-99EB-E337E7C91CE6}" dt="2021-02-15T13:29:44.555" v="86" actId="2696"/>
          <pc:sldLayoutMkLst>
            <pc:docMk/>
            <pc:sldMasterMk cId="1145012255" sldId="2147484977"/>
            <pc:sldLayoutMk cId="832127342" sldId="2147484987"/>
          </pc:sldLayoutMkLst>
        </pc:sldLayoutChg>
        <pc:sldLayoutChg chg="new del replId">
          <pc:chgData name="Timo Gossen" userId="4ec7f864-84f7-407f-b8f9-5c31d0de0089" providerId="ADAL" clId="{E96548DA-82A4-4619-99EB-E337E7C91CE6}" dt="2021-02-15T13:29:44.568" v="87" actId="2696"/>
          <pc:sldLayoutMkLst>
            <pc:docMk/>
            <pc:sldMasterMk cId="1145012255" sldId="2147484977"/>
            <pc:sldLayoutMk cId="2532229963" sldId="2147484988"/>
          </pc:sldLayoutMkLst>
        </pc:sldLayoutChg>
      </pc:sldMasterChg>
      <pc:sldMasterChg chg="modSldLayout">
        <pc:chgData name="Timo Gossen" userId="4ec7f864-84f7-407f-b8f9-5c31d0de0089" providerId="ADAL" clId="{E96548DA-82A4-4619-99EB-E337E7C91CE6}" dt="2021-02-15T13:29:49.808" v="89"/>
        <pc:sldMasterMkLst>
          <pc:docMk/>
          <pc:sldMasterMk cId="2050920376" sldId="2147484977"/>
        </pc:sldMasterMkLst>
        <pc:sldLayoutChg chg="setBg">
          <pc:chgData name="Timo Gossen" userId="4ec7f864-84f7-407f-b8f9-5c31d0de0089" providerId="ADAL" clId="{E96548DA-82A4-4619-99EB-E337E7C91CE6}" dt="2021-02-15T13:29:49.808" v="89"/>
          <pc:sldLayoutMkLst>
            <pc:docMk/>
            <pc:sldMasterMk cId="2050920376" sldId="2147484977"/>
            <pc:sldLayoutMk cId="3725785943" sldId="2147484978"/>
          </pc:sldLayoutMkLst>
        </pc:sldLayoutChg>
        <pc:sldLayoutChg chg="setBg">
          <pc:chgData name="Timo Gossen" userId="4ec7f864-84f7-407f-b8f9-5c31d0de0089" providerId="ADAL" clId="{E96548DA-82A4-4619-99EB-E337E7C91CE6}" dt="2021-02-15T13:29:49.808" v="89"/>
          <pc:sldLayoutMkLst>
            <pc:docMk/>
            <pc:sldMasterMk cId="2050920376" sldId="2147484977"/>
            <pc:sldLayoutMk cId="2406817352" sldId="2147484979"/>
          </pc:sldLayoutMkLst>
        </pc:sldLayoutChg>
        <pc:sldLayoutChg chg="setBg">
          <pc:chgData name="Timo Gossen" userId="4ec7f864-84f7-407f-b8f9-5c31d0de0089" providerId="ADAL" clId="{E96548DA-82A4-4619-99EB-E337E7C91CE6}" dt="2021-02-15T13:29:49.808" v="89"/>
          <pc:sldLayoutMkLst>
            <pc:docMk/>
            <pc:sldMasterMk cId="2050920376" sldId="2147484977"/>
            <pc:sldLayoutMk cId="888733249" sldId="2147484980"/>
          </pc:sldLayoutMkLst>
        </pc:sldLayoutChg>
        <pc:sldLayoutChg chg="setBg">
          <pc:chgData name="Timo Gossen" userId="4ec7f864-84f7-407f-b8f9-5c31d0de0089" providerId="ADAL" clId="{E96548DA-82A4-4619-99EB-E337E7C91CE6}" dt="2021-02-15T13:29:49.808" v="89"/>
          <pc:sldLayoutMkLst>
            <pc:docMk/>
            <pc:sldMasterMk cId="2050920376" sldId="2147484977"/>
            <pc:sldLayoutMk cId="4024932574" sldId="2147484989"/>
          </pc:sldLayoutMkLst>
        </pc:sldLayoutChg>
        <pc:sldLayoutChg chg="setBg">
          <pc:chgData name="Timo Gossen" userId="4ec7f864-84f7-407f-b8f9-5c31d0de0089" providerId="ADAL" clId="{E96548DA-82A4-4619-99EB-E337E7C91CE6}" dt="2021-02-15T13:29:49.808" v="89"/>
          <pc:sldLayoutMkLst>
            <pc:docMk/>
            <pc:sldMasterMk cId="2050920376" sldId="2147484977"/>
            <pc:sldLayoutMk cId="573729763" sldId="2147484990"/>
          </pc:sldLayoutMkLst>
        </pc:sldLayoutChg>
        <pc:sldLayoutChg chg="setBg">
          <pc:chgData name="Timo Gossen" userId="4ec7f864-84f7-407f-b8f9-5c31d0de0089" providerId="ADAL" clId="{E96548DA-82A4-4619-99EB-E337E7C91CE6}" dt="2021-02-15T13:29:49.808" v="89"/>
          <pc:sldLayoutMkLst>
            <pc:docMk/>
            <pc:sldMasterMk cId="2050920376" sldId="2147484977"/>
            <pc:sldLayoutMk cId="142130676" sldId="2147484991"/>
          </pc:sldLayoutMkLst>
        </pc:sldLayoutChg>
        <pc:sldLayoutChg chg="setBg">
          <pc:chgData name="Timo Gossen" userId="4ec7f864-84f7-407f-b8f9-5c31d0de0089" providerId="ADAL" clId="{E96548DA-82A4-4619-99EB-E337E7C91CE6}" dt="2021-02-15T13:29:49.808" v="89"/>
          <pc:sldLayoutMkLst>
            <pc:docMk/>
            <pc:sldMasterMk cId="2050920376" sldId="2147484977"/>
            <pc:sldLayoutMk cId="3993082182" sldId="2147484992"/>
          </pc:sldLayoutMkLst>
        </pc:sldLayoutChg>
        <pc:sldLayoutChg chg="setBg">
          <pc:chgData name="Timo Gossen" userId="4ec7f864-84f7-407f-b8f9-5c31d0de0089" providerId="ADAL" clId="{E96548DA-82A4-4619-99EB-E337E7C91CE6}" dt="2021-02-15T13:29:49.808" v="89"/>
          <pc:sldLayoutMkLst>
            <pc:docMk/>
            <pc:sldMasterMk cId="2050920376" sldId="2147484977"/>
            <pc:sldLayoutMk cId="2339570162" sldId="2147484994"/>
          </pc:sldLayoutMkLst>
        </pc:sldLayoutChg>
        <pc:sldLayoutChg chg="setBg">
          <pc:chgData name="Timo Gossen" userId="4ec7f864-84f7-407f-b8f9-5c31d0de0089" providerId="ADAL" clId="{E96548DA-82A4-4619-99EB-E337E7C91CE6}" dt="2021-02-15T13:29:49.808" v="89"/>
          <pc:sldLayoutMkLst>
            <pc:docMk/>
            <pc:sldMasterMk cId="2050920376" sldId="2147484977"/>
            <pc:sldLayoutMk cId="773066066" sldId="2147484996"/>
          </pc:sldLayoutMkLst>
        </pc:sldLayoutChg>
        <pc:sldLayoutChg chg="setBg">
          <pc:chgData name="Timo Gossen" userId="4ec7f864-84f7-407f-b8f9-5c31d0de0089" providerId="ADAL" clId="{E96548DA-82A4-4619-99EB-E337E7C91CE6}" dt="2021-02-15T13:29:49.808" v="89"/>
          <pc:sldLayoutMkLst>
            <pc:docMk/>
            <pc:sldMasterMk cId="2050920376" sldId="2147484977"/>
            <pc:sldLayoutMk cId="812236353" sldId="2147484997"/>
          </pc:sldLayoutMkLst>
        </pc:sldLayoutChg>
      </pc:sldMasterChg>
      <pc:sldMasterChg chg="addSp delSp modSp new del mod addSldLayout delSldLayout">
        <pc:chgData name="Timo Gossen" userId="4ec7f864-84f7-407f-b8f9-5c31d0de0089" providerId="ADAL" clId="{E96548DA-82A4-4619-99EB-E337E7C91CE6}" dt="2021-02-15T13:30:15.232" v="93" actId="6938"/>
        <pc:sldMasterMkLst>
          <pc:docMk/>
          <pc:sldMasterMk cId="2311120728" sldId="2147484977"/>
        </pc:sldMasterMkLst>
        <pc:spChg chg="add del mod">
          <ac:chgData name="Timo Gossen" userId="4ec7f864-84f7-407f-b8f9-5c31d0de0089" providerId="ADAL" clId="{E96548DA-82A4-4619-99EB-E337E7C91CE6}" dt="2021-02-15T13:30:06.855" v="92"/>
          <ac:spMkLst>
            <pc:docMk/>
            <pc:sldMasterMk cId="2311120728" sldId="2147484977"/>
            <ac:spMk id="7" creationId="{70FEA2D8-2A53-429F-8898-EA514CE6CD6E}"/>
          </ac:spMkLst>
        </pc:spChg>
        <pc:spChg chg="add del mod">
          <ac:chgData name="Timo Gossen" userId="4ec7f864-84f7-407f-b8f9-5c31d0de0089" providerId="ADAL" clId="{E96548DA-82A4-4619-99EB-E337E7C91CE6}" dt="2021-02-15T13:30:06.855" v="92"/>
          <ac:spMkLst>
            <pc:docMk/>
            <pc:sldMasterMk cId="2311120728" sldId="2147484977"/>
            <ac:spMk id="8" creationId="{3D642A05-CBD6-40C5-BA19-1FED0F4B80AD}"/>
          </ac:spMkLst>
        </pc:spChg>
        <pc:spChg chg="add del mod">
          <ac:chgData name="Timo Gossen" userId="4ec7f864-84f7-407f-b8f9-5c31d0de0089" providerId="ADAL" clId="{E96548DA-82A4-4619-99EB-E337E7C91CE6}" dt="2021-02-15T13:30:06.855" v="92"/>
          <ac:spMkLst>
            <pc:docMk/>
            <pc:sldMasterMk cId="2311120728" sldId="2147484977"/>
            <ac:spMk id="9" creationId="{6684D247-B7E6-4429-8237-5361B86F75FE}"/>
          </ac:spMkLst>
        </pc:spChg>
        <pc:spChg chg="add del mod">
          <ac:chgData name="Timo Gossen" userId="4ec7f864-84f7-407f-b8f9-5c31d0de0089" providerId="ADAL" clId="{E96548DA-82A4-4619-99EB-E337E7C91CE6}" dt="2021-02-15T13:30:06.855" v="92"/>
          <ac:spMkLst>
            <pc:docMk/>
            <pc:sldMasterMk cId="2311120728" sldId="2147484977"/>
            <ac:spMk id="10" creationId="{F1BF757A-D91D-454B-87CF-FEB94506540F}"/>
          </ac:spMkLst>
        </pc:spChg>
        <pc:spChg chg="mod">
          <ac:chgData name="Timo Gossen" userId="4ec7f864-84f7-407f-b8f9-5c31d0de0089" providerId="ADAL" clId="{E96548DA-82A4-4619-99EB-E337E7C91CE6}" dt="2021-02-15T13:30:04.801" v="91"/>
          <ac:spMkLst>
            <pc:docMk/>
            <pc:sldMasterMk cId="2311120728" sldId="2147484977"/>
            <ac:spMk id="20" creationId="{60B6F6DB-AA7C-4795-BE43-5D2C52BBCEAB}"/>
          </ac:spMkLst>
        </pc:spChg>
        <pc:spChg chg="mod">
          <ac:chgData name="Timo Gossen" userId="4ec7f864-84f7-407f-b8f9-5c31d0de0089" providerId="ADAL" clId="{E96548DA-82A4-4619-99EB-E337E7C91CE6}" dt="2021-02-15T13:30:04.801" v="91"/>
          <ac:spMkLst>
            <pc:docMk/>
            <pc:sldMasterMk cId="2311120728" sldId="2147484977"/>
            <ac:spMk id="22" creationId="{DAE6EE6C-00B1-4E2D-8DA4-05DDA6FFE328}"/>
          </ac:spMkLst>
        </pc:spChg>
        <pc:spChg chg="mod">
          <ac:chgData name="Timo Gossen" userId="4ec7f864-84f7-407f-b8f9-5c31d0de0089" providerId="ADAL" clId="{E96548DA-82A4-4619-99EB-E337E7C91CE6}" dt="2021-02-15T13:30:04.801" v="91"/>
          <ac:spMkLst>
            <pc:docMk/>
            <pc:sldMasterMk cId="2311120728" sldId="2147484977"/>
            <ac:spMk id="23" creationId="{A3EA90AE-C2D4-4DED-AAF8-204F38A594EE}"/>
          </ac:spMkLst>
        </pc:spChg>
        <pc:spChg chg="mod">
          <ac:chgData name="Timo Gossen" userId="4ec7f864-84f7-407f-b8f9-5c31d0de0089" providerId="ADAL" clId="{E96548DA-82A4-4619-99EB-E337E7C91CE6}" dt="2021-02-15T13:30:04.801" v="91"/>
          <ac:spMkLst>
            <pc:docMk/>
            <pc:sldMasterMk cId="2311120728" sldId="2147484977"/>
            <ac:spMk id="25" creationId="{8B886756-50DA-4BE4-BC37-9A390F408535}"/>
          </ac:spMkLst>
        </pc:spChg>
        <pc:spChg chg="mod">
          <ac:chgData name="Timo Gossen" userId="4ec7f864-84f7-407f-b8f9-5c31d0de0089" providerId="ADAL" clId="{E96548DA-82A4-4619-99EB-E337E7C91CE6}" dt="2021-02-15T13:30:04.801" v="91"/>
          <ac:spMkLst>
            <pc:docMk/>
            <pc:sldMasterMk cId="2311120728" sldId="2147484977"/>
            <ac:spMk id="27" creationId="{D86520E9-A243-4274-910B-FEEF6712C355}"/>
          </ac:spMkLst>
        </pc:spChg>
        <pc:spChg chg="mod">
          <ac:chgData name="Timo Gossen" userId="4ec7f864-84f7-407f-b8f9-5c31d0de0089" providerId="ADAL" clId="{E96548DA-82A4-4619-99EB-E337E7C91CE6}" dt="2021-02-15T13:30:04.801" v="91"/>
          <ac:spMkLst>
            <pc:docMk/>
            <pc:sldMasterMk cId="2311120728" sldId="2147484977"/>
            <ac:spMk id="28" creationId="{39E1A037-C3C5-4BAB-8EB7-A529DBCA5BD3}"/>
          </ac:spMkLst>
        </pc:spChg>
        <pc:spChg chg="mod">
          <ac:chgData name="Timo Gossen" userId="4ec7f864-84f7-407f-b8f9-5c31d0de0089" providerId="ADAL" clId="{E96548DA-82A4-4619-99EB-E337E7C91CE6}" dt="2021-02-15T13:30:04.801" v="91"/>
          <ac:spMkLst>
            <pc:docMk/>
            <pc:sldMasterMk cId="2311120728" sldId="2147484977"/>
            <ac:spMk id="30" creationId="{EB412221-5705-4DFD-A91D-89D7E0B2D14B}"/>
          </ac:spMkLst>
        </pc:spChg>
        <pc:spChg chg="mod">
          <ac:chgData name="Timo Gossen" userId="4ec7f864-84f7-407f-b8f9-5c31d0de0089" providerId="ADAL" clId="{E96548DA-82A4-4619-99EB-E337E7C91CE6}" dt="2021-02-15T13:30:04.801" v="91"/>
          <ac:spMkLst>
            <pc:docMk/>
            <pc:sldMasterMk cId="2311120728" sldId="2147484977"/>
            <ac:spMk id="32" creationId="{F2FA43D9-B6AB-4556-8C3B-32405A0956F2}"/>
          </ac:spMkLst>
        </pc:spChg>
        <pc:spChg chg="mod">
          <ac:chgData name="Timo Gossen" userId="4ec7f864-84f7-407f-b8f9-5c31d0de0089" providerId="ADAL" clId="{E96548DA-82A4-4619-99EB-E337E7C91CE6}" dt="2021-02-15T13:30:04.801" v="91"/>
          <ac:spMkLst>
            <pc:docMk/>
            <pc:sldMasterMk cId="2311120728" sldId="2147484977"/>
            <ac:spMk id="33" creationId="{F7E57B81-F43B-429E-8B96-C2F6C441D52B}"/>
          </ac:spMkLst>
        </pc:spChg>
        <pc:spChg chg="mod">
          <ac:chgData name="Timo Gossen" userId="4ec7f864-84f7-407f-b8f9-5c31d0de0089" providerId="ADAL" clId="{E96548DA-82A4-4619-99EB-E337E7C91CE6}" dt="2021-02-15T13:30:04.801" v="91"/>
          <ac:spMkLst>
            <pc:docMk/>
            <pc:sldMasterMk cId="2311120728" sldId="2147484977"/>
            <ac:spMk id="35" creationId="{A9172A6F-6B79-437D-B41D-C5B38F98811C}"/>
          </ac:spMkLst>
        </pc:spChg>
        <pc:spChg chg="mod">
          <ac:chgData name="Timo Gossen" userId="4ec7f864-84f7-407f-b8f9-5c31d0de0089" providerId="ADAL" clId="{E96548DA-82A4-4619-99EB-E337E7C91CE6}" dt="2021-02-15T13:30:04.801" v="91"/>
          <ac:spMkLst>
            <pc:docMk/>
            <pc:sldMasterMk cId="2311120728" sldId="2147484977"/>
            <ac:spMk id="37" creationId="{EFE7C67F-B7C0-4AC6-ABB1-0BCDA54B56B7}"/>
          </ac:spMkLst>
        </pc:spChg>
        <pc:spChg chg="mod">
          <ac:chgData name="Timo Gossen" userId="4ec7f864-84f7-407f-b8f9-5c31d0de0089" providerId="ADAL" clId="{E96548DA-82A4-4619-99EB-E337E7C91CE6}" dt="2021-02-15T13:30:04.801" v="91"/>
          <ac:spMkLst>
            <pc:docMk/>
            <pc:sldMasterMk cId="2311120728" sldId="2147484977"/>
            <ac:spMk id="38" creationId="{27B35EF7-1A0C-41F9-BA58-02DDA4C8FB17}"/>
          </ac:spMkLst>
        </pc:spChg>
        <pc:spChg chg="mod">
          <ac:chgData name="Timo Gossen" userId="4ec7f864-84f7-407f-b8f9-5c31d0de0089" providerId="ADAL" clId="{E96548DA-82A4-4619-99EB-E337E7C91CE6}" dt="2021-02-15T13:30:04.801" v="91"/>
          <ac:spMkLst>
            <pc:docMk/>
            <pc:sldMasterMk cId="2311120728" sldId="2147484977"/>
            <ac:spMk id="40" creationId="{F7865532-8A5E-406D-A88F-7B95EFE9D5BD}"/>
          </ac:spMkLst>
        </pc:spChg>
        <pc:spChg chg="mod">
          <ac:chgData name="Timo Gossen" userId="4ec7f864-84f7-407f-b8f9-5c31d0de0089" providerId="ADAL" clId="{E96548DA-82A4-4619-99EB-E337E7C91CE6}" dt="2021-02-15T13:30:04.801" v="91"/>
          <ac:spMkLst>
            <pc:docMk/>
            <pc:sldMasterMk cId="2311120728" sldId="2147484977"/>
            <ac:spMk id="42" creationId="{F2AC0773-CF1D-4A37-89B3-DA35807AD3A0}"/>
          </ac:spMkLst>
        </pc:spChg>
        <pc:spChg chg="mod">
          <ac:chgData name="Timo Gossen" userId="4ec7f864-84f7-407f-b8f9-5c31d0de0089" providerId="ADAL" clId="{E96548DA-82A4-4619-99EB-E337E7C91CE6}" dt="2021-02-15T13:30:04.801" v="91"/>
          <ac:spMkLst>
            <pc:docMk/>
            <pc:sldMasterMk cId="2311120728" sldId="2147484977"/>
            <ac:spMk id="43" creationId="{5500F25B-97A2-48A2-9469-E13804E09510}"/>
          </ac:spMkLst>
        </pc:spChg>
        <pc:spChg chg="mod">
          <ac:chgData name="Timo Gossen" userId="4ec7f864-84f7-407f-b8f9-5c31d0de0089" providerId="ADAL" clId="{E96548DA-82A4-4619-99EB-E337E7C91CE6}" dt="2021-02-15T13:30:04.801" v="91"/>
          <ac:spMkLst>
            <pc:docMk/>
            <pc:sldMasterMk cId="2311120728" sldId="2147484977"/>
            <ac:spMk id="45" creationId="{88047162-4972-4BF0-AC39-11494EB7CC0B}"/>
          </ac:spMkLst>
        </pc:spChg>
        <pc:spChg chg="mod">
          <ac:chgData name="Timo Gossen" userId="4ec7f864-84f7-407f-b8f9-5c31d0de0089" providerId="ADAL" clId="{E96548DA-82A4-4619-99EB-E337E7C91CE6}" dt="2021-02-15T13:30:04.801" v="91"/>
          <ac:spMkLst>
            <pc:docMk/>
            <pc:sldMasterMk cId="2311120728" sldId="2147484977"/>
            <ac:spMk id="47" creationId="{D26770BB-CE9B-4C28-B2EB-2B75E0A28465}"/>
          </ac:spMkLst>
        </pc:spChg>
        <pc:spChg chg="mod">
          <ac:chgData name="Timo Gossen" userId="4ec7f864-84f7-407f-b8f9-5c31d0de0089" providerId="ADAL" clId="{E96548DA-82A4-4619-99EB-E337E7C91CE6}" dt="2021-02-15T13:30:04.801" v="91"/>
          <ac:spMkLst>
            <pc:docMk/>
            <pc:sldMasterMk cId="2311120728" sldId="2147484977"/>
            <ac:spMk id="48" creationId="{61ECEDE6-4BC7-47E6-B6E5-6446CC879C8B}"/>
          </ac:spMkLst>
        </pc:spChg>
        <pc:spChg chg="mod">
          <ac:chgData name="Timo Gossen" userId="4ec7f864-84f7-407f-b8f9-5c31d0de0089" providerId="ADAL" clId="{E96548DA-82A4-4619-99EB-E337E7C91CE6}" dt="2021-02-15T13:30:04.801" v="91"/>
          <ac:spMkLst>
            <pc:docMk/>
            <pc:sldMasterMk cId="2311120728" sldId="2147484977"/>
            <ac:spMk id="50" creationId="{CDB480AB-42A5-4E61-9C85-8DE74DF17847}"/>
          </ac:spMkLst>
        </pc:spChg>
        <pc:spChg chg="mod">
          <ac:chgData name="Timo Gossen" userId="4ec7f864-84f7-407f-b8f9-5c31d0de0089" providerId="ADAL" clId="{E96548DA-82A4-4619-99EB-E337E7C91CE6}" dt="2021-02-15T13:30:04.801" v="91"/>
          <ac:spMkLst>
            <pc:docMk/>
            <pc:sldMasterMk cId="2311120728" sldId="2147484977"/>
            <ac:spMk id="52" creationId="{373395D0-B831-4703-9827-2F849EEE8116}"/>
          </ac:spMkLst>
        </pc:spChg>
        <pc:spChg chg="mod">
          <ac:chgData name="Timo Gossen" userId="4ec7f864-84f7-407f-b8f9-5c31d0de0089" providerId="ADAL" clId="{E96548DA-82A4-4619-99EB-E337E7C91CE6}" dt="2021-02-15T13:30:04.801" v="91"/>
          <ac:spMkLst>
            <pc:docMk/>
            <pc:sldMasterMk cId="2311120728" sldId="2147484977"/>
            <ac:spMk id="53" creationId="{79B5A885-6F55-4488-A2C0-DB49F6C1AD0D}"/>
          </ac:spMkLst>
        </pc:spChg>
        <pc:spChg chg="add del mod">
          <ac:chgData name="Timo Gossen" userId="4ec7f864-84f7-407f-b8f9-5c31d0de0089" providerId="ADAL" clId="{E96548DA-82A4-4619-99EB-E337E7C91CE6}" dt="2021-02-15T13:30:06.855" v="92"/>
          <ac:spMkLst>
            <pc:docMk/>
            <pc:sldMasterMk cId="2311120728" sldId="2147484977"/>
            <ac:spMk id="54" creationId="{E9D37E23-DCA3-458A-97D7-23FA1A5C70E5}"/>
          </ac:spMkLst>
        </pc:spChg>
        <pc:spChg chg="mod">
          <ac:chgData name="Timo Gossen" userId="4ec7f864-84f7-407f-b8f9-5c31d0de0089" providerId="ADAL" clId="{E96548DA-82A4-4619-99EB-E337E7C91CE6}" dt="2021-02-15T13:30:04.801" v="91"/>
          <ac:spMkLst>
            <pc:docMk/>
            <pc:sldMasterMk cId="2311120728" sldId="2147484977"/>
            <ac:spMk id="56" creationId="{0C86FCD1-58A3-4417-9D75-EE82D1FB97AE}"/>
          </ac:spMkLst>
        </pc:spChg>
        <pc:spChg chg="mod">
          <ac:chgData name="Timo Gossen" userId="4ec7f864-84f7-407f-b8f9-5c31d0de0089" providerId="ADAL" clId="{E96548DA-82A4-4619-99EB-E337E7C91CE6}" dt="2021-02-15T13:30:04.801" v="91"/>
          <ac:spMkLst>
            <pc:docMk/>
            <pc:sldMasterMk cId="2311120728" sldId="2147484977"/>
            <ac:spMk id="57" creationId="{D7CE5D14-0757-4203-9A0C-B352A5F459AE}"/>
          </ac:spMkLst>
        </pc:spChg>
        <pc:spChg chg="mod">
          <ac:chgData name="Timo Gossen" userId="4ec7f864-84f7-407f-b8f9-5c31d0de0089" providerId="ADAL" clId="{E96548DA-82A4-4619-99EB-E337E7C91CE6}" dt="2021-02-15T13:30:04.801" v="91"/>
          <ac:spMkLst>
            <pc:docMk/>
            <pc:sldMasterMk cId="2311120728" sldId="2147484977"/>
            <ac:spMk id="59" creationId="{160E59B6-4E46-4E1B-89A6-CEEE3EB5B193}"/>
          </ac:spMkLst>
        </pc:spChg>
        <pc:spChg chg="mod">
          <ac:chgData name="Timo Gossen" userId="4ec7f864-84f7-407f-b8f9-5c31d0de0089" providerId="ADAL" clId="{E96548DA-82A4-4619-99EB-E337E7C91CE6}" dt="2021-02-15T13:30:04.801" v="91"/>
          <ac:spMkLst>
            <pc:docMk/>
            <pc:sldMasterMk cId="2311120728" sldId="2147484977"/>
            <ac:spMk id="60" creationId="{C9A6C066-F967-47EB-88C7-7D5BC65F0BA8}"/>
          </ac:spMkLst>
        </pc:spChg>
        <pc:spChg chg="mod">
          <ac:chgData name="Timo Gossen" userId="4ec7f864-84f7-407f-b8f9-5c31d0de0089" providerId="ADAL" clId="{E96548DA-82A4-4619-99EB-E337E7C91CE6}" dt="2021-02-15T13:30:04.801" v="91"/>
          <ac:spMkLst>
            <pc:docMk/>
            <pc:sldMasterMk cId="2311120728" sldId="2147484977"/>
            <ac:spMk id="61" creationId="{35ADB191-66D4-45DB-953D-38491999AEC0}"/>
          </ac:spMkLst>
        </pc:spChg>
        <pc:spChg chg="mod">
          <ac:chgData name="Timo Gossen" userId="4ec7f864-84f7-407f-b8f9-5c31d0de0089" providerId="ADAL" clId="{E96548DA-82A4-4619-99EB-E337E7C91CE6}" dt="2021-02-15T13:30:04.801" v="91"/>
          <ac:spMkLst>
            <pc:docMk/>
            <pc:sldMasterMk cId="2311120728" sldId="2147484977"/>
            <ac:spMk id="62" creationId="{0F8BEED8-9C39-45FC-88D5-41DFD79B5F1D}"/>
          </ac:spMkLst>
        </pc:spChg>
        <pc:spChg chg="mod">
          <ac:chgData name="Timo Gossen" userId="4ec7f864-84f7-407f-b8f9-5c31d0de0089" providerId="ADAL" clId="{E96548DA-82A4-4619-99EB-E337E7C91CE6}" dt="2021-02-15T13:30:04.801" v="91"/>
          <ac:spMkLst>
            <pc:docMk/>
            <pc:sldMasterMk cId="2311120728" sldId="2147484977"/>
            <ac:spMk id="63" creationId="{07950E39-40CE-412C-8D9E-C01D2DB7C110}"/>
          </ac:spMkLst>
        </pc:spChg>
        <pc:spChg chg="mod">
          <ac:chgData name="Timo Gossen" userId="4ec7f864-84f7-407f-b8f9-5c31d0de0089" providerId="ADAL" clId="{E96548DA-82A4-4619-99EB-E337E7C91CE6}" dt="2021-02-15T13:30:04.801" v="91"/>
          <ac:spMkLst>
            <pc:docMk/>
            <pc:sldMasterMk cId="2311120728" sldId="2147484977"/>
            <ac:spMk id="64" creationId="{559755C5-2B72-461C-8B63-6C9C160EBC81}"/>
          </ac:spMkLst>
        </pc:spChg>
        <pc:spChg chg="add del mod">
          <ac:chgData name="Timo Gossen" userId="4ec7f864-84f7-407f-b8f9-5c31d0de0089" providerId="ADAL" clId="{E96548DA-82A4-4619-99EB-E337E7C91CE6}" dt="2021-02-15T13:30:06.855" v="92"/>
          <ac:spMkLst>
            <pc:docMk/>
            <pc:sldMasterMk cId="2311120728" sldId="2147484977"/>
            <ac:spMk id="65" creationId="{A69F19B7-09F8-44D3-A53C-CF7E6E2E5A36}"/>
          </ac:spMkLst>
        </pc:spChg>
        <pc:spChg chg="add del mod">
          <ac:chgData name="Timo Gossen" userId="4ec7f864-84f7-407f-b8f9-5c31d0de0089" providerId="ADAL" clId="{E96548DA-82A4-4619-99EB-E337E7C91CE6}" dt="2021-02-15T13:30:06.855" v="92"/>
          <ac:spMkLst>
            <pc:docMk/>
            <pc:sldMasterMk cId="2311120728" sldId="2147484977"/>
            <ac:spMk id="66" creationId="{5C84C813-C122-4F31-8627-CEFB517109E8}"/>
          </ac:spMkLst>
        </pc:spChg>
        <pc:spChg chg="mod">
          <ac:chgData name="Timo Gossen" userId="4ec7f864-84f7-407f-b8f9-5c31d0de0089" providerId="ADAL" clId="{E96548DA-82A4-4619-99EB-E337E7C91CE6}" dt="2021-02-15T13:30:04.801" v="91"/>
          <ac:spMkLst>
            <pc:docMk/>
            <pc:sldMasterMk cId="2311120728" sldId="2147484977"/>
            <ac:spMk id="69" creationId="{3036D3E2-2DB9-42B7-8CB2-6A1A82DFFB96}"/>
          </ac:spMkLst>
        </pc:spChg>
        <pc:spChg chg="mod">
          <ac:chgData name="Timo Gossen" userId="4ec7f864-84f7-407f-b8f9-5c31d0de0089" providerId="ADAL" clId="{E96548DA-82A4-4619-99EB-E337E7C91CE6}" dt="2021-02-15T13:30:04.801" v="91"/>
          <ac:spMkLst>
            <pc:docMk/>
            <pc:sldMasterMk cId="2311120728" sldId="2147484977"/>
            <ac:spMk id="71" creationId="{B420FB2E-6E2E-4562-B5CB-E1D0878C30CA}"/>
          </ac:spMkLst>
        </pc:spChg>
        <pc:spChg chg="mod">
          <ac:chgData name="Timo Gossen" userId="4ec7f864-84f7-407f-b8f9-5c31d0de0089" providerId="ADAL" clId="{E96548DA-82A4-4619-99EB-E337E7C91CE6}" dt="2021-02-15T13:30:04.801" v="91"/>
          <ac:spMkLst>
            <pc:docMk/>
            <pc:sldMasterMk cId="2311120728" sldId="2147484977"/>
            <ac:spMk id="72" creationId="{8EFEB4D4-91F4-400E-80F2-119F8FB28058}"/>
          </ac:spMkLst>
        </pc:spChg>
        <pc:grpChg chg="add del mod">
          <ac:chgData name="Timo Gossen" userId="4ec7f864-84f7-407f-b8f9-5c31d0de0089" providerId="ADAL" clId="{E96548DA-82A4-4619-99EB-E337E7C91CE6}" dt="2021-02-15T13:30:06.855" v="92"/>
          <ac:grpSpMkLst>
            <pc:docMk/>
            <pc:sldMasterMk cId="2311120728" sldId="2147484977"/>
            <ac:grpSpMk id="19" creationId="{77C75823-3C67-47CD-8A5E-C75D1A6054D6}"/>
          </ac:grpSpMkLst>
        </pc:grpChg>
        <pc:grpChg chg="mod">
          <ac:chgData name="Timo Gossen" userId="4ec7f864-84f7-407f-b8f9-5c31d0de0089" providerId="ADAL" clId="{E96548DA-82A4-4619-99EB-E337E7C91CE6}" dt="2021-02-15T13:30:04.801" v="91"/>
          <ac:grpSpMkLst>
            <pc:docMk/>
            <pc:sldMasterMk cId="2311120728" sldId="2147484977"/>
            <ac:grpSpMk id="21" creationId="{BF3F8CEC-573A-470C-A1EA-175E5E038AE7}"/>
          </ac:grpSpMkLst>
        </pc:grpChg>
        <pc:grpChg chg="add del mod">
          <ac:chgData name="Timo Gossen" userId="4ec7f864-84f7-407f-b8f9-5c31d0de0089" providerId="ADAL" clId="{E96548DA-82A4-4619-99EB-E337E7C91CE6}" dt="2021-02-15T13:30:06.855" v="92"/>
          <ac:grpSpMkLst>
            <pc:docMk/>
            <pc:sldMasterMk cId="2311120728" sldId="2147484977"/>
            <ac:grpSpMk id="24" creationId="{EB1E315E-8227-4914-8DC8-77A6DBBEF205}"/>
          </ac:grpSpMkLst>
        </pc:grpChg>
        <pc:grpChg chg="mod">
          <ac:chgData name="Timo Gossen" userId="4ec7f864-84f7-407f-b8f9-5c31d0de0089" providerId="ADAL" clId="{E96548DA-82A4-4619-99EB-E337E7C91CE6}" dt="2021-02-15T13:30:04.801" v="91"/>
          <ac:grpSpMkLst>
            <pc:docMk/>
            <pc:sldMasterMk cId="2311120728" sldId="2147484977"/>
            <ac:grpSpMk id="26" creationId="{A535AF27-9C8A-4A09-9B90-7AA27A22EACF}"/>
          </ac:grpSpMkLst>
        </pc:grpChg>
        <pc:grpChg chg="add del mod">
          <ac:chgData name="Timo Gossen" userId="4ec7f864-84f7-407f-b8f9-5c31d0de0089" providerId="ADAL" clId="{E96548DA-82A4-4619-99EB-E337E7C91CE6}" dt="2021-02-15T13:30:06.855" v="92"/>
          <ac:grpSpMkLst>
            <pc:docMk/>
            <pc:sldMasterMk cId="2311120728" sldId="2147484977"/>
            <ac:grpSpMk id="29" creationId="{4417700F-AD9D-435E-9F44-DBC01AB3AF9D}"/>
          </ac:grpSpMkLst>
        </pc:grpChg>
        <pc:grpChg chg="mod">
          <ac:chgData name="Timo Gossen" userId="4ec7f864-84f7-407f-b8f9-5c31d0de0089" providerId="ADAL" clId="{E96548DA-82A4-4619-99EB-E337E7C91CE6}" dt="2021-02-15T13:30:04.801" v="91"/>
          <ac:grpSpMkLst>
            <pc:docMk/>
            <pc:sldMasterMk cId="2311120728" sldId="2147484977"/>
            <ac:grpSpMk id="31" creationId="{BF48675B-C93D-4568-ADD2-DB3410D8EF8D}"/>
          </ac:grpSpMkLst>
        </pc:grpChg>
        <pc:grpChg chg="add del mod">
          <ac:chgData name="Timo Gossen" userId="4ec7f864-84f7-407f-b8f9-5c31d0de0089" providerId="ADAL" clId="{E96548DA-82A4-4619-99EB-E337E7C91CE6}" dt="2021-02-15T13:30:06.855" v="92"/>
          <ac:grpSpMkLst>
            <pc:docMk/>
            <pc:sldMasterMk cId="2311120728" sldId="2147484977"/>
            <ac:grpSpMk id="34" creationId="{291237B4-C636-46E1-8BCF-576BC8286A8A}"/>
          </ac:grpSpMkLst>
        </pc:grpChg>
        <pc:grpChg chg="mod">
          <ac:chgData name="Timo Gossen" userId="4ec7f864-84f7-407f-b8f9-5c31d0de0089" providerId="ADAL" clId="{E96548DA-82A4-4619-99EB-E337E7C91CE6}" dt="2021-02-15T13:30:04.801" v="91"/>
          <ac:grpSpMkLst>
            <pc:docMk/>
            <pc:sldMasterMk cId="2311120728" sldId="2147484977"/>
            <ac:grpSpMk id="36" creationId="{71573D72-6BE5-4CB0-BC20-A9BC3397C2C4}"/>
          </ac:grpSpMkLst>
        </pc:grpChg>
        <pc:grpChg chg="add del mod">
          <ac:chgData name="Timo Gossen" userId="4ec7f864-84f7-407f-b8f9-5c31d0de0089" providerId="ADAL" clId="{E96548DA-82A4-4619-99EB-E337E7C91CE6}" dt="2021-02-15T13:30:06.855" v="92"/>
          <ac:grpSpMkLst>
            <pc:docMk/>
            <pc:sldMasterMk cId="2311120728" sldId="2147484977"/>
            <ac:grpSpMk id="39" creationId="{45331D42-531F-4775-871C-07898C2C59CD}"/>
          </ac:grpSpMkLst>
        </pc:grpChg>
        <pc:grpChg chg="mod">
          <ac:chgData name="Timo Gossen" userId="4ec7f864-84f7-407f-b8f9-5c31d0de0089" providerId="ADAL" clId="{E96548DA-82A4-4619-99EB-E337E7C91CE6}" dt="2021-02-15T13:30:04.801" v="91"/>
          <ac:grpSpMkLst>
            <pc:docMk/>
            <pc:sldMasterMk cId="2311120728" sldId="2147484977"/>
            <ac:grpSpMk id="41" creationId="{C8EE837C-6457-4669-9084-98F8904D4067}"/>
          </ac:grpSpMkLst>
        </pc:grpChg>
        <pc:grpChg chg="add del mod">
          <ac:chgData name="Timo Gossen" userId="4ec7f864-84f7-407f-b8f9-5c31d0de0089" providerId="ADAL" clId="{E96548DA-82A4-4619-99EB-E337E7C91CE6}" dt="2021-02-15T13:30:06.855" v="92"/>
          <ac:grpSpMkLst>
            <pc:docMk/>
            <pc:sldMasterMk cId="2311120728" sldId="2147484977"/>
            <ac:grpSpMk id="44" creationId="{F8A5A43D-0105-4B12-9BE8-9D0741570664}"/>
          </ac:grpSpMkLst>
        </pc:grpChg>
        <pc:grpChg chg="mod">
          <ac:chgData name="Timo Gossen" userId="4ec7f864-84f7-407f-b8f9-5c31d0de0089" providerId="ADAL" clId="{E96548DA-82A4-4619-99EB-E337E7C91CE6}" dt="2021-02-15T13:30:04.801" v="91"/>
          <ac:grpSpMkLst>
            <pc:docMk/>
            <pc:sldMasterMk cId="2311120728" sldId="2147484977"/>
            <ac:grpSpMk id="46" creationId="{F02377AF-13E2-4B81-895B-20E42DC7A5A9}"/>
          </ac:grpSpMkLst>
        </pc:grpChg>
        <pc:grpChg chg="add del mod">
          <ac:chgData name="Timo Gossen" userId="4ec7f864-84f7-407f-b8f9-5c31d0de0089" providerId="ADAL" clId="{E96548DA-82A4-4619-99EB-E337E7C91CE6}" dt="2021-02-15T13:30:06.855" v="92"/>
          <ac:grpSpMkLst>
            <pc:docMk/>
            <pc:sldMasterMk cId="2311120728" sldId="2147484977"/>
            <ac:grpSpMk id="49" creationId="{6467A43C-D561-4068-AE2B-21ABBDC57F28}"/>
          </ac:grpSpMkLst>
        </pc:grpChg>
        <pc:grpChg chg="mod">
          <ac:chgData name="Timo Gossen" userId="4ec7f864-84f7-407f-b8f9-5c31d0de0089" providerId="ADAL" clId="{E96548DA-82A4-4619-99EB-E337E7C91CE6}" dt="2021-02-15T13:30:04.801" v="91"/>
          <ac:grpSpMkLst>
            <pc:docMk/>
            <pc:sldMasterMk cId="2311120728" sldId="2147484977"/>
            <ac:grpSpMk id="51" creationId="{AD4B8AEB-C775-4698-A84D-6ABF1F0278EB}"/>
          </ac:grpSpMkLst>
        </pc:grpChg>
        <pc:grpChg chg="add del mod">
          <ac:chgData name="Timo Gossen" userId="4ec7f864-84f7-407f-b8f9-5c31d0de0089" providerId="ADAL" clId="{E96548DA-82A4-4619-99EB-E337E7C91CE6}" dt="2021-02-15T13:30:06.855" v="92"/>
          <ac:grpSpMkLst>
            <pc:docMk/>
            <pc:sldMasterMk cId="2311120728" sldId="2147484977"/>
            <ac:grpSpMk id="55" creationId="{1AC993F9-E075-407C-AFE9-5DE5488B99B7}"/>
          </ac:grpSpMkLst>
        </pc:grpChg>
        <pc:grpChg chg="add del mod">
          <ac:chgData name="Timo Gossen" userId="4ec7f864-84f7-407f-b8f9-5c31d0de0089" providerId="ADAL" clId="{E96548DA-82A4-4619-99EB-E337E7C91CE6}" dt="2021-02-15T13:30:06.855" v="92"/>
          <ac:grpSpMkLst>
            <pc:docMk/>
            <pc:sldMasterMk cId="2311120728" sldId="2147484977"/>
            <ac:grpSpMk id="58" creationId="{C44BC79B-AA44-4F32-B177-B429BAFD07B8}"/>
          </ac:grpSpMkLst>
        </pc:grpChg>
        <pc:grpChg chg="add del mod">
          <ac:chgData name="Timo Gossen" userId="4ec7f864-84f7-407f-b8f9-5c31d0de0089" providerId="ADAL" clId="{E96548DA-82A4-4619-99EB-E337E7C91CE6}" dt="2021-02-15T13:30:06.855" v="92"/>
          <ac:grpSpMkLst>
            <pc:docMk/>
            <pc:sldMasterMk cId="2311120728" sldId="2147484977"/>
            <ac:grpSpMk id="68" creationId="{86E87C54-24AC-400F-BF96-DF3DB04FE80D}"/>
          </ac:grpSpMkLst>
        </pc:grpChg>
        <pc:grpChg chg="mod">
          <ac:chgData name="Timo Gossen" userId="4ec7f864-84f7-407f-b8f9-5c31d0de0089" providerId="ADAL" clId="{E96548DA-82A4-4619-99EB-E337E7C91CE6}" dt="2021-02-15T13:30:04.801" v="91"/>
          <ac:grpSpMkLst>
            <pc:docMk/>
            <pc:sldMasterMk cId="2311120728" sldId="2147484977"/>
            <ac:grpSpMk id="70" creationId="{9CB583E0-41C6-464B-853A-3B5557EBEA62}"/>
          </ac:grpSpMkLst>
        </pc:grpChg>
        <pc:cxnChg chg="add del mod">
          <ac:chgData name="Timo Gossen" userId="4ec7f864-84f7-407f-b8f9-5c31d0de0089" providerId="ADAL" clId="{E96548DA-82A4-4619-99EB-E337E7C91CE6}" dt="2021-02-15T13:30:06.855" v="92"/>
          <ac:cxnSpMkLst>
            <pc:docMk/>
            <pc:sldMasterMk cId="2311120728" sldId="2147484977"/>
            <ac:cxnSpMk id="11" creationId="{429CE0A4-C480-4C08-A670-182FA451868C}"/>
          </ac:cxnSpMkLst>
        </pc:cxnChg>
        <pc:cxnChg chg="add del mod">
          <ac:chgData name="Timo Gossen" userId="4ec7f864-84f7-407f-b8f9-5c31d0de0089" providerId="ADAL" clId="{E96548DA-82A4-4619-99EB-E337E7C91CE6}" dt="2021-02-15T13:30:06.855" v="92"/>
          <ac:cxnSpMkLst>
            <pc:docMk/>
            <pc:sldMasterMk cId="2311120728" sldId="2147484977"/>
            <ac:cxnSpMk id="12" creationId="{399D22D5-F387-4436-AE4A-CD648814F489}"/>
          </ac:cxnSpMkLst>
        </pc:cxnChg>
        <pc:cxnChg chg="add del mod">
          <ac:chgData name="Timo Gossen" userId="4ec7f864-84f7-407f-b8f9-5c31d0de0089" providerId="ADAL" clId="{E96548DA-82A4-4619-99EB-E337E7C91CE6}" dt="2021-02-15T13:30:06.855" v="92"/>
          <ac:cxnSpMkLst>
            <pc:docMk/>
            <pc:sldMasterMk cId="2311120728" sldId="2147484977"/>
            <ac:cxnSpMk id="13" creationId="{C48B7EE9-B41B-49EB-8843-358D485B424E}"/>
          </ac:cxnSpMkLst>
        </pc:cxnChg>
        <pc:cxnChg chg="add del mod">
          <ac:chgData name="Timo Gossen" userId="4ec7f864-84f7-407f-b8f9-5c31d0de0089" providerId="ADAL" clId="{E96548DA-82A4-4619-99EB-E337E7C91CE6}" dt="2021-02-15T13:30:06.855" v="92"/>
          <ac:cxnSpMkLst>
            <pc:docMk/>
            <pc:sldMasterMk cId="2311120728" sldId="2147484977"/>
            <ac:cxnSpMk id="14" creationId="{AB7F8553-4F46-4E4B-B97F-7CBC5BDFF349}"/>
          </ac:cxnSpMkLst>
        </pc:cxnChg>
        <pc:cxnChg chg="add del mod">
          <ac:chgData name="Timo Gossen" userId="4ec7f864-84f7-407f-b8f9-5c31d0de0089" providerId="ADAL" clId="{E96548DA-82A4-4619-99EB-E337E7C91CE6}" dt="2021-02-15T13:30:06.855" v="92"/>
          <ac:cxnSpMkLst>
            <pc:docMk/>
            <pc:sldMasterMk cId="2311120728" sldId="2147484977"/>
            <ac:cxnSpMk id="15" creationId="{B9D593DD-204F-46DC-B3FE-03AC62A44153}"/>
          </ac:cxnSpMkLst>
        </pc:cxnChg>
        <pc:cxnChg chg="add del mod">
          <ac:chgData name="Timo Gossen" userId="4ec7f864-84f7-407f-b8f9-5c31d0de0089" providerId="ADAL" clId="{E96548DA-82A4-4619-99EB-E337E7C91CE6}" dt="2021-02-15T13:30:06.855" v="92"/>
          <ac:cxnSpMkLst>
            <pc:docMk/>
            <pc:sldMasterMk cId="2311120728" sldId="2147484977"/>
            <ac:cxnSpMk id="16" creationId="{10949F2A-307E-41BD-B305-A8F5AE3DA475}"/>
          </ac:cxnSpMkLst>
        </pc:cxnChg>
        <pc:cxnChg chg="add del mod">
          <ac:chgData name="Timo Gossen" userId="4ec7f864-84f7-407f-b8f9-5c31d0de0089" providerId="ADAL" clId="{E96548DA-82A4-4619-99EB-E337E7C91CE6}" dt="2021-02-15T13:30:06.855" v="92"/>
          <ac:cxnSpMkLst>
            <pc:docMk/>
            <pc:sldMasterMk cId="2311120728" sldId="2147484977"/>
            <ac:cxnSpMk id="17" creationId="{4D84465D-076F-47B4-A264-F766CFDD8CD3}"/>
          </ac:cxnSpMkLst>
        </pc:cxnChg>
        <pc:cxnChg chg="add del mod">
          <ac:chgData name="Timo Gossen" userId="4ec7f864-84f7-407f-b8f9-5c31d0de0089" providerId="ADAL" clId="{E96548DA-82A4-4619-99EB-E337E7C91CE6}" dt="2021-02-15T13:30:06.855" v="92"/>
          <ac:cxnSpMkLst>
            <pc:docMk/>
            <pc:sldMasterMk cId="2311120728" sldId="2147484977"/>
            <ac:cxnSpMk id="18" creationId="{20CA7D59-3008-49D0-A8EA-D577C79F0CA0}"/>
          </ac:cxnSpMkLst>
        </pc:cxnChg>
        <pc:cxnChg chg="add del mod">
          <ac:chgData name="Timo Gossen" userId="4ec7f864-84f7-407f-b8f9-5c31d0de0089" providerId="ADAL" clId="{E96548DA-82A4-4619-99EB-E337E7C91CE6}" dt="2021-02-15T13:30:06.855" v="92"/>
          <ac:cxnSpMkLst>
            <pc:docMk/>
            <pc:sldMasterMk cId="2311120728" sldId="2147484977"/>
            <ac:cxnSpMk id="67" creationId="{CEF4C825-427A-4D7E-8933-CB84EB39FF22}"/>
          </ac:cxnSpMkLst>
        </pc:cxnChg>
        <pc:sldLayoutChg chg="new del replId">
          <pc:chgData name="Timo Gossen" userId="4ec7f864-84f7-407f-b8f9-5c31d0de0089" providerId="ADAL" clId="{E96548DA-82A4-4619-99EB-E337E7C91CE6}" dt="2021-02-15T13:30:15.232" v="93" actId="6938"/>
          <pc:sldLayoutMkLst>
            <pc:docMk/>
            <pc:sldMasterMk cId="2311120728" sldId="2147484977"/>
            <pc:sldLayoutMk cId="2400506674" sldId="2147484978"/>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4002515448" sldId="2147484979"/>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1979317931" sldId="2147484980"/>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3990838433" sldId="2147484981"/>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3842563180" sldId="2147484982"/>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2060917231" sldId="2147484983"/>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1489569633" sldId="2147484984"/>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492534755" sldId="2147484985"/>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3712232590" sldId="2147484986"/>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3223898239" sldId="2147484987"/>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4224629382" sldId="2147484988"/>
          </pc:sldLayoutMkLst>
        </pc:sldLayoutChg>
      </pc:sldMasterChg>
    </pc:docChg>
  </pc:docChgLst>
  <pc:docChgLst>
    <pc:chgData name="Volker Deuss" userId="83c8cae8-d6b5-4d44-8973-8eec24a06c81" providerId="ADAL" clId="{CA905BEB-9253-45C1-95C4-4AB90B87D1D0}"/>
    <pc:docChg chg="custSel modSld">
      <pc:chgData name="Volker Deuss" userId="83c8cae8-d6b5-4d44-8973-8eec24a06c81" providerId="ADAL" clId="{CA905BEB-9253-45C1-95C4-4AB90B87D1D0}" dt="2021-04-25T14:43:41.203" v="179" actId="20577"/>
      <pc:docMkLst>
        <pc:docMk/>
      </pc:docMkLst>
      <pc:sldChg chg="modNotesTx">
        <pc:chgData name="Volker Deuss" userId="83c8cae8-d6b5-4d44-8973-8eec24a06c81" providerId="ADAL" clId="{CA905BEB-9253-45C1-95C4-4AB90B87D1D0}" dt="2021-04-25T14:32:59.651" v="176" actId="20577"/>
        <pc:sldMkLst>
          <pc:docMk/>
          <pc:sldMk cId="443274503" sldId="2076137454"/>
        </pc:sldMkLst>
      </pc:sldChg>
      <pc:sldChg chg="modSp mod">
        <pc:chgData name="Volker Deuss" userId="83c8cae8-d6b5-4d44-8973-8eec24a06c81" providerId="ADAL" clId="{CA905BEB-9253-45C1-95C4-4AB90B87D1D0}" dt="2021-04-25T14:43:41.203" v="179" actId="20577"/>
        <pc:sldMkLst>
          <pc:docMk/>
          <pc:sldMk cId="3021527048" sldId="2076137460"/>
        </pc:sldMkLst>
        <pc:spChg chg="mod">
          <ac:chgData name="Volker Deuss" userId="83c8cae8-d6b5-4d44-8973-8eec24a06c81" providerId="ADAL" clId="{CA905BEB-9253-45C1-95C4-4AB90B87D1D0}" dt="2021-04-25T14:43:39.621" v="178" actId="20577"/>
          <ac:spMkLst>
            <pc:docMk/>
            <pc:sldMk cId="3021527048" sldId="2076137460"/>
            <ac:spMk id="54" creationId="{CE106E87-5845-4974-9575-AFD9EF2A8ACA}"/>
          </ac:spMkLst>
        </pc:spChg>
        <pc:spChg chg="mod">
          <ac:chgData name="Volker Deuss" userId="83c8cae8-d6b5-4d44-8973-8eec24a06c81" providerId="ADAL" clId="{CA905BEB-9253-45C1-95C4-4AB90B87D1D0}" dt="2021-04-25T14:43:41.203" v="179" actId="20577"/>
          <ac:spMkLst>
            <pc:docMk/>
            <pc:sldMk cId="3021527048" sldId="2076137460"/>
            <ac:spMk id="68" creationId="{D520D6AE-B564-45F6-9AF2-96AD29E17E73}"/>
          </ac:spMkLst>
        </pc:spChg>
      </pc:sldChg>
      <pc:sldChg chg="modSp mod">
        <pc:chgData name="Volker Deuss" userId="83c8cae8-d6b5-4d44-8973-8eec24a06c81" providerId="ADAL" clId="{CA905BEB-9253-45C1-95C4-4AB90B87D1D0}" dt="2021-04-25T14:40:22.886" v="177" actId="15"/>
        <pc:sldMkLst>
          <pc:docMk/>
          <pc:sldMk cId="1045128666" sldId="2076137464"/>
        </pc:sldMkLst>
        <pc:spChg chg="mod">
          <ac:chgData name="Volker Deuss" userId="83c8cae8-d6b5-4d44-8973-8eec24a06c81" providerId="ADAL" clId="{CA905BEB-9253-45C1-95C4-4AB90B87D1D0}" dt="2021-04-25T14:40:22.886" v="177" actId="15"/>
          <ac:spMkLst>
            <pc:docMk/>
            <pc:sldMk cId="1045128666" sldId="2076137464"/>
            <ac:spMk id="20" creationId="{3EBF0E00-3491-407A-B77E-C8A241BBCFB3}"/>
          </ac:spMkLst>
        </pc:spChg>
      </pc:sldChg>
    </pc:docChg>
  </pc:docChgLst>
  <pc:docChgLst>
    <pc:chgData name="Rachel Profitt" userId="33e63d03-b0ce-4cee-8a7f-3417702ed3c2" providerId="ADAL" clId="{509C912A-1794-4FF4-AFCA-78B7A7015AB1}"/>
    <pc:docChg chg="undo custSel delSld modSld delSection modSection">
      <pc:chgData name="Rachel Profitt" userId="33e63d03-b0ce-4cee-8a7f-3417702ed3c2" providerId="ADAL" clId="{509C912A-1794-4FF4-AFCA-78B7A7015AB1}" dt="2020-10-22T17:52:08.400" v="75" actId="14100"/>
      <pc:docMkLst>
        <pc:docMk/>
      </pc:docMkLst>
      <pc:sldChg chg="del">
        <pc:chgData name="Rachel Profitt" userId="33e63d03-b0ce-4cee-8a7f-3417702ed3c2" providerId="ADAL" clId="{509C912A-1794-4FF4-AFCA-78B7A7015AB1}" dt="2020-10-22T17:50:56.833" v="67" actId="47"/>
        <pc:sldMkLst>
          <pc:docMk/>
          <pc:sldMk cId="1995050349" sldId="1523"/>
        </pc:sldMkLst>
      </pc:sldChg>
      <pc:sldChg chg="del">
        <pc:chgData name="Rachel Profitt" userId="33e63d03-b0ce-4cee-8a7f-3417702ed3c2" providerId="ADAL" clId="{509C912A-1794-4FF4-AFCA-78B7A7015AB1}" dt="2020-10-22T17:50:56.833" v="67" actId="47"/>
        <pc:sldMkLst>
          <pc:docMk/>
          <pc:sldMk cId="1811665972" sldId="1524"/>
        </pc:sldMkLst>
      </pc:sldChg>
      <pc:sldChg chg="del">
        <pc:chgData name="Rachel Profitt" userId="33e63d03-b0ce-4cee-8a7f-3417702ed3c2" providerId="ADAL" clId="{509C912A-1794-4FF4-AFCA-78B7A7015AB1}" dt="2020-10-22T17:51:18.525" v="68" actId="47"/>
        <pc:sldMkLst>
          <pc:docMk/>
          <pc:sldMk cId="203203085" sldId="1527"/>
        </pc:sldMkLst>
      </pc:sldChg>
      <pc:sldChg chg="del">
        <pc:chgData name="Rachel Profitt" userId="33e63d03-b0ce-4cee-8a7f-3417702ed3c2" providerId="ADAL" clId="{509C912A-1794-4FF4-AFCA-78B7A7015AB1}" dt="2020-10-22T17:51:18.525" v="68" actId="47"/>
        <pc:sldMkLst>
          <pc:docMk/>
          <pc:sldMk cId="3249496989" sldId="1529"/>
        </pc:sldMkLst>
      </pc:sldChg>
      <pc:sldChg chg="del">
        <pc:chgData name="Rachel Profitt" userId="33e63d03-b0ce-4cee-8a7f-3417702ed3c2" providerId="ADAL" clId="{509C912A-1794-4FF4-AFCA-78B7A7015AB1}" dt="2020-10-22T17:51:18.525" v="68" actId="47"/>
        <pc:sldMkLst>
          <pc:docMk/>
          <pc:sldMk cId="1041029672" sldId="1530"/>
        </pc:sldMkLst>
      </pc:sldChg>
      <pc:sldChg chg="del">
        <pc:chgData name="Rachel Profitt" userId="33e63d03-b0ce-4cee-8a7f-3417702ed3c2" providerId="ADAL" clId="{509C912A-1794-4FF4-AFCA-78B7A7015AB1}" dt="2020-10-22T17:51:18.525" v="68" actId="47"/>
        <pc:sldMkLst>
          <pc:docMk/>
          <pc:sldMk cId="1789865309" sldId="1531"/>
        </pc:sldMkLst>
      </pc:sldChg>
      <pc:sldChg chg="del">
        <pc:chgData name="Rachel Profitt" userId="33e63d03-b0ce-4cee-8a7f-3417702ed3c2" providerId="ADAL" clId="{509C912A-1794-4FF4-AFCA-78B7A7015AB1}" dt="2020-10-22T17:51:18.525" v="68" actId="47"/>
        <pc:sldMkLst>
          <pc:docMk/>
          <pc:sldMk cId="2402828649" sldId="1532"/>
        </pc:sldMkLst>
      </pc:sldChg>
      <pc:sldChg chg="del">
        <pc:chgData name="Rachel Profitt" userId="33e63d03-b0ce-4cee-8a7f-3417702ed3c2" providerId="ADAL" clId="{509C912A-1794-4FF4-AFCA-78B7A7015AB1}" dt="2020-10-22T17:50:56.833" v="67" actId="47"/>
        <pc:sldMkLst>
          <pc:docMk/>
          <pc:sldMk cId="895908902" sldId="1548"/>
        </pc:sldMkLst>
      </pc:sldChg>
      <pc:sldChg chg="del">
        <pc:chgData name="Rachel Profitt" userId="33e63d03-b0ce-4cee-8a7f-3417702ed3c2" providerId="ADAL" clId="{509C912A-1794-4FF4-AFCA-78B7A7015AB1}" dt="2020-10-22T17:50:56.833" v="67" actId="47"/>
        <pc:sldMkLst>
          <pc:docMk/>
          <pc:sldMk cId="3188989622" sldId="1635"/>
        </pc:sldMkLst>
      </pc:sldChg>
      <pc:sldChg chg="del">
        <pc:chgData name="Rachel Profitt" userId="33e63d03-b0ce-4cee-8a7f-3417702ed3c2" providerId="ADAL" clId="{509C912A-1794-4FF4-AFCA-78B7A7015AB1}" dt="2020-10-22T17:50:56.833" v="67" actId="47"/>
        <pc:sldMkLst>
          <pc:docMk/>
          <pc:sldMk cId="3957722359" sldId="1660"/>
        </pc:sldMkLst>
      </pc:sldChg>
      <pc:sldChg chg="del">
        <pc:chgData name="Rachel Profitt" userId="33e63d03-b0ce-4cee-8a7f-3417702ed3c2" providerId="ADAL" clId="{509C912A-1794-4FF4-AFCA-78B7A7015AB1}" dt="2020-10-22T17:50:56.833" v="67" actId="47"/>
        <pc:sldMkLst>
          <pc:docMk/>
          <pc:sldMk cId="1795078537" sldId="1661"/>
        </pc:sldMkLst>
      </pc:sldChg>
      <pc:sldChg chg="del">
        <pc:chgData name="Rachel Profitt" userId="33e63d03-b0ce-4cee-8a7f-3417702ed3c2" providerId="ADAL" clId="{509C912A-1794-4FF4-AFCA-78B7A7015AB1}" dt="2020-10-22T17:50:56.833" v="67" actId="47"/>
        <pc:sldMkLst>
          <pc:docMk/>
          <pc:sldMk cId="1793706927" sldId="1670"/>
        </pc:sldMkLst>
      </pc:sldChg>
      <pc:sldChg chg="del">
        <pc:chgData name="Rachel Profitt" userId="33e63d03-b0ce-4cee-8a7f-3417702ed3c2" providerId="ADAL" clId="{509C912A-1794-4FF4-AFCA-78B7A7015AB1}" dt="2020-10-22T17:50:56.833" v="67" actId="47"/>
        <pc:sldMkLst>
          <pc:docMk/>
          <pc:sldMk cId="3635852913" sldId="1719"/>
        </pc:sldMkLst>
      </pc:sldChg>
      <pc:sldChg chg="del">
        <pc:chgData name="Rachel Profitt" userId="33e63d03-b0ce-4cee-8a7f-3417702ed3c2" providerId="ADAL" clId="{509C912A-1794-4FF4-AFCA-78B7A7015AB1}" dt="2020-10-22T17:50:56.833" v="67" actId="47"/>
        <pc:sldMkLst>
          <pc:docMk/>
          <pc:sldMk cId="2639379867" sldId="1720"/>
        </pc:sldMkLst>
      </pc:sldChg>
      <pc:sldChg chg="modSp mod">
        <pc:chgData name="Rachel Profitt" userId="33e63d03-b0ce-4cee-8a7f-3417702ed3c2" providerId="ADAL" clId="{509C912A-1794-4FF4-AFCA-78B7A7015AB1}" dt="2020-10-22T17:49:45.849" v="66" actId="207"/>
        <pc:sldMkLst>
          <pc:docMk/>
          <pc:sldMk cId="1094870920" sldId="1735"/>
        </pc:sldMkLst>
        <pc:spChg chg="mod">
          <ac:chgData name="Rachel Profitt" userId="33e63d03-b0ce-4cee-8a7f-3417702ed3c2" providerId="ADAL" clId="{509C912A-1794-4FF4-AFCA-78B7A7015AB1}" dt="2020-10-22T17:49:45.849" v="66" actId="207"/>
          <ac:spMkLst>
            <pc:docMk/>
            <pc:sldMk cId="1094870920" sldId="1735"/>
            <ac:spMk id="40" creationId="{8550DF09-0D7B-4F8E-8ACF-13567A221AF3}"/>
          </ac:spMkLst>
        </pc:spChg>
      </pc:sldChg>
      <pc:sldChg chg="del">
        <pc:chgData name="Rachel Profitt" userId="33e63d03-b0ce-4cee-8a7f-3417702ed3c2" providerId="ADAL" clId="{509C912A-1794-4FF4-AFCA-78B7A7015AB1}" dt="2020-10-22T17:50:56.833" v="67" actId="47"/>
        <pc:sldMkLst>
          <pc:docMk/>
          <pc:sldMk cId="696467548" sldId="1906"/>
        </pc:sldMkLst>
      </pc:sldChg>
      <pc:sldChg chg="del">
        <pc:chgData name="Rachel Profitt" userId="33e63d03-b0ce-4cee-8a7f-3417702ed3c2" providerId="ADAL" clId="{509C912A-1794-4FF4-AFCA-78B7A7015AB1}" dt="2020-10-22T17:50:56.833" v="67" actId="47"/>
        <pc:sldMkLst>
          <pc:docMk/>
          <pc:sldMk cId="2504275049" sldId="1946"/>
        </pc:sldMkLst>
      </pc:sldChg>
      <pc:sldChg chg="del">
        <pc:chgData name="Rachel Profitt" userId="33e63d03-b0ce-4cee-8a7f-3417702ed3c2" providerId="ADAL" clId="{509C912A-1794-4FF4-AFCA-78B7A7015AB1}" dt="2020-10-22T17:50:56.833" v="67" actId="47"/>
        <pc:sldMkLst>
          <pc:docMk/>
          <pc:sldMk cId="3964713026" sldId="1947"/>
        </pc:sldMkLst>
      </pc:sldChg>
      <pc:sldChg chg="del">
        <pc:chgData name="Rachel Profitt" userId="33e63d03-b0ce-4cee-8a7f-3417702ed3c2" providerId="ADAL" clId="{509C912A-1794-4FF4-AFCA-78B7A7015AB1}" dt="2020-10-22T17:51:18.525" v="68" actId="47"/>
        <pc:sldMkLst>
          <pc:docMk/>
          <pc:sldMk cId="3349316556" sldId="1997"/>
        </pc:sldMkLst>
      </pc:sldChg>
      <pc:sldChg chg="del">
        <pc:chgData name="Rachel Profitt" userId="33e63d03-b0ce-4cee-8a7f-3417702ed3c2" providerId="ADAL" clId="{509C912A-1794-4FF4-AFCA-78B7A7015AB1}" dt="2020-10-22T17:51:18.525" v="68" actId="47"/>
        <pc:sldMkLst>
          <pc:docMk/>
          <pc:sldMk cId="573217507" sldId="2023"/>
        </pc:sldMkLst>
      </pc:sldChg>
      <pc:sldChg chg="del">
        <pc:chgData name="Rachel Profitt" userId="33e63d03-b0ce-4cee-8a7f-3417702ed3c2" providerId="ADAL" clId="{509C912A-1794-4FF4-AFCA-78B7A7015AB1}" dt="2020-10-22T17:51:18.525" v="68" actId="47"/>
        <pc:sldMkLst>
          <pc:docMk/>
          <pc:sldMk cId="2066068184" sldId="2024"/>
        </pc:sldMkLst>
      </pc:sldChg>
      <pc:sldChg chg="del">
        <pc:chgData name="Rachel Profitt" userId="33e63d03-b0ce-4cee-8a7f-3417702ed3c2" providerId="ADAL" clId="{509C912A-1794-4FF4-AFCA-78B7A7015AB1}" dt="2020-10-22T17:51:18.525" v="68" actId="47"/>
        <pc:sldMkLst>
          <pc:docMk/>
          <pc:sldMk cId="4009953625" sldId="2025"/>
        </pc:sldMkLst>
      </pc:sldChg>
      <pc:sldChg chg="del">
        <pc:chgData name="Rachel Profitt" userId="33e63d03-b0ce-4cee-8a7f-3417702ed3c2" providerId="ADAL" clId="{509C912A-1794-4FF4-AFCA-78B7A7015AB1}" dt="2020-10-22T17:51:18.525" v="68" actId="47"/>
        <pc:sldMkLst>
          <pc:docMk/>
          <pc:sldMk cId="1963507276" sldId="2026"/>
        </pc:sldMkLst>
      </pc:sldChg>
      <pc:sldChg chg="del">
        <pc:chgData name="Rachel Profitt" userId="33e63d03-b0ce-4cee-8a7f-3417702ed3c2" providerId="ADAL" clId="{509C912A-1794-4FF4-AFCA-78B7A7015AB1}" dt="2020-10-22T17:51:18.525" v="68" actId="47"/>
        <pc:sldMkLst>
          <pc:docMk/>
          <pc:sldMk cId="1264959024" sldId="2027"/>
        </pc:sldMkLst>
      </pc:sldChg>
      <pc:sldChg chg="del">
        <pc:chgData name="Rachel Profitt" userId="33e63d03-b0ce-4cee-8a7f-3417702ed3c2" providerId="ADAL" clId="{509C912A-1794-4FF4-AFCA-78B7A7015AB1}" dt="2020-10-22T17:51:18.525" v="68" actId="47"/>
        <pc:sldMkLst>
          <pc:docMk/>
          <pc:sldMk cId="817982161" sldId="2028"/>
        </pc:sldMkLst>
      </pc:sldChg>
      <pc:sldChg chg="del">
        <pc:chgData name="Rachel Profitt" userId="33e63d03-b0ce-4cee-8a7f-3417702ed3c2" providerId="ADAL" clId="{509C912A-1794-4FF4-AFCA-78B7A7015AB1}" dt="2020-10-22T17:51:18.525" v="68" actId="47"/>
        <pc:sldMkLst>
          <pc:docMk/>
          <pc:sldMk cId="2819265930" sldId="2029"/>
        </pc:sldMkLst>
      </pc:sldChg>
      <pc:sldChg chg="del">
        <pc:chgData name="Rachel Profitt" userId="33e63d03-b0ce-4cee-8a7f-3417702ed3c2" providerId="ADAL" clId="{509C912A-1794-4FF4-AFCA-78B7A7015AB1}" dt="2020-10-22T17:51:18.525" v="68" actId="47"/>
        <pc:sldMkLst>
          <pc:docMk/>
          <pc:sldMk cId="81036527" sldId="2030"/>
        </pc:sldMkLst>
      </pc:sldChg>
      <pc:sldChg chg="del">
        <pc:chgData name="Rachel Profitt" userId="33e63d03-b0ce-4cee-8a7f-3417702ed3c2" providerId="ADAL" clId="{509C912A-1794-4FF4-AFCA-78B7A7015AB1}" dt="2020-10-22T17:51:18.525" v="68" actId="47"/>
        <pc:sldMkLst>
          <pc:docMk/>
          <pc:sldMk cId="3776777781" sldId="2031"/>
        </pc:sldMkLst>
      </pc:sldChg>
      <pc:sldChg chg="del">
        <pc:chgData name="Rachel Profitt" userId="33e63d03-b0ce-4cee-8a7f-3417702ed3c2" providerId="ADAL" clId="{509C912A-1794-4FF4-AFCA-78B7A7015AB1}" dt="2020-10-22T17:51:18.525" v="68" actId="47"/>
        <pc:sldMkLst>
          <pc:docMk/>
          <pc:sldMk cId="4139330499" sldId="2032"/>
        </pc:sldMkLst>
      </pc:sldChg>
      <pc:sldChg chg="del">
        <pc:chgData name="Rachel Profitt" userId="33e63d03-b0ce-4cee-8a7f-3417702ed3c2" providerId="ADAL" clId="{509C912A-1794-4FF4-AFCA-78B7A7015AB1}" dt="2020-10-22T17:51:18.525" v="68" actId="47"/>
        <pc:sldMkLst>
          <pc:docMk/>
          <pc:sldMk cId="124627926" sldId="2033"/>
        </pc:sldMkLst>
      </pc:sldChg>
      <pc:sldChg chg="del">
        <pc:chgData name="Rachel Profitt" userId="33e63d03-b0ce-4cee-8a7f-3417702ed3c2" providerId="ADAL" clId="{509C912A-1794-4FF4-AFCA-78B7A7015AB1}" dt="2020-10-22T17:51:18.525" v="68" actId="47"/>
        <pc:sldMkLst>
          <pc:docMk/>
          <pc:sldMk cId="828867804" sldId="2034"/>
        </pc:sldMkLst>
      </pc:sldChg>
      <pc:sldChg chg="del">
        <pc:chgData name="Rachel Profitt" userId="33e63d03-b0ce-4cee-8a7f-3417702ed3c2" providerId="ADAL" clId="{509C912A-1794-4FF4-AFCA-78B7A7015AB1}" dt="2020-10-22T17:51:18.525" v="68" actId="47"/>
        <pc:sldMkLst>
          <pc:docMk/>
          <pc:sldMk cId="2549803971" sldId="2035"/>
        </pc:sldMkLst>
      </pc:sldChg>
      <pc:sldChg chg="del">
        <pc:chgData name="Rachel Profitt" userId="33e63d03-b0ce-4cee-8a7f-3417702ed3c2" providerId="ADAL" clId="{509C912A-1794-4FF4-AFCA-78B7A7015AB1}" dt="2020-10-22T17:51:18.525" v="68" actId="47"/>
        <pc:sldMkLst>
          <pc:docMk/>
          <pc:sldMk cId="229588123" sldId="2036"/>
        </pc:sldMkLst>
      </pc:sldChg>
      <pc:sldChg chg="del">
        <pc:chgData name="Rachel Profitt" userId="33e63d03-b0ce-4cee-8a7f-3417702ed3c2" providerId="ADAL" clId="{509C912A-1794-4FF4-AFCA-78B7A7015AB1}" dt="2020-10-22T17:51:18.525" v="68" actId="47"/>
        <pc:sldMkLst>
          <pc:docMk/>
          <pc:sldMk cId="2653947152" sldId="2037"/>
        </pc:sldMkLst>
      </pc:sldChg>
      <pc:sldChg chg="del">
        <pc:chgData name="Rachel Profitt" userId="33e63d03-b0ce-4cee-8a7f-3417702ed3c2" providerId="ADAL" clId="{509C912A-1794-4FF4-AFCA-78B7A7015AB1}" dt="2020-10-22T17:51:18.525" v="68" actId="47"/>
        <pc:sldMkLst>
          <pc:docMk/>
          <pc:sldMk cId="4047794574" sldId="2038"/>
        </pc:sldMkLst>
      </pc:sldChg>
      <pc:sldChg chg="del">
        <pc:chgData name="Rachel Profitt" userId="33e63d03-b0ce-4cee-8a7f-3417702ed3c2" providerId="ADAL" clId="{509C912A-1794-4FF4-AFCA-78B7A7015AB1}" dt="2020-10-22T17:51:18.525" v="68" actId="47"/>
        <pc:sldMkLst>
          <pc:docMk/>
          <pc:sldMk cId="3467114971" sldId="2039"/>
        </pc:sldMkLst>
      </pc:sldChg>
      <pc:sldChg chg="del">
        <pc:chgData name="Rachel Profitt" userId="33e63d03-b0ce-4cee-8a7f-3417702ed3c2" providerId="ADAL" clId="{509C912A-1794-4FF4-AFCA-78B7A7015AB1}" dt="2020-10-22T17:51:18.525" v="68" actId="47"/>
        <pc:sldMkLst>
          <pc:docMk/>
          <pc:sldMk cId="1319771591" sldId="2040"/>
        </pc:sldMkLst>
      </pc:sldChg>
      <pc:sldChg chg="del">
        <pc:chgData name="Rachel Profitt" userId="33e63d03-b0ce-4cee-8a7f-3417702ed3c2" providerId="ADAL" clId="{509C912A-1794-4FF4-AFCA-78B7A7015AB1}" dt="2020-10-22T17:51:18.525" v="68" actId="47"/>
        <pc:sldMkLst>
          <pc:docMk/>
          <pc:sldMk cId="4185804024" sldId="2041"/>
        </pc:sldMkLst>
      </pc:sldChg>
      <pc:sldChg chg="del">
        <pc:chgData name="Rachel Profitt" userId="33e63d03-b0ce-4cee-8a7f-3417702ed3c2" providerId="ADAL" clId="{509C912A-1794-4FF4-AFCA-78B7A7015AB1}" dt="2020-10-22T17:50:56.833" v="67" actId="47"/>
        <pc:sldMkLst>
          <pc:docMk/>
          <pc:sldMk cId="544100002" sldId="2045"/>
        </pc:sldMkLst>
      </pc:sldChg>
      <pc:sldChg chg="del">
        <pc:chgData name="Rachel Profitt" userId="33e63d03-b0ce-4cee-8a7f-3417702ed3c2" providerId="ADAL" clId="{509C912A-1794-4FF4-AFCA-78B7A7015AB1}" dt="2020-10-22T17:50:56.833" v="67" actId="47"/>
        <pc:sldMkLst>
          <pc:docMk/>
          <pc:sldMk cId="1122963436" sldId="2046"/>
        </pc:sldMkLst>
      </pc:sldChg>
      <pc:sldChg chg="del">
        <pc:chgData name="Rachel Profitt" userId="33e63d03-b0ce-4cee-8a7f-3417702ed3c2" providerId="ADAL" clId="{509C912A-1794-4FF4-AFCA-78B7A7015AB1}" dt="2020-10-22T17:51:18.525" v="68" actId="47"/>
        <pc:sldMkLst>
          <pc:docMk/>
          <pc:sldMk cId="4161152058" sldId="2049"/>
        </pc:sldMkLst>
      </pc:sldChg>
      <pc:sldChg chg="del">
        <pc:chgData name="Rachel Profitt" userId="33e63d03-b0ce-4cee-8a7f-3417702ed3c2" providerId="ADAL" clId="{509C912A-1794-4FF4-AFCA-78B7A7015AB1}" dt="2020-10-22T17:51:18.525" v="68" actId="47"/>
        <pc:sldMkLst>
          <pc:docMk/>
          <pc:sldMk cId="2598465396" sldId="2050"/>
        </pc:sldMkLst>
      </pc:sldChg>
      <pc:sldChg chg="del">
        <pc:chgData name="Rachel Profitt" userId="33e63d03-b0ce-4cee-8a7f-3417702ed3c2" providerId="ADAL" clId="{509C912A-1794-4FF4-AFCA-78B7A7015AB1}" dt="2020-10-22T17:50:56.833" v="67" actId="47"/>
        <pc:sldMkLst>
          <pc:docMk/>
          <pc:sldMk cId="4178565498" sldId="2051"/>
        </pc:sldMkLst>
      </pc:sldChg>
      <pc:sldChg chg="del">
        <pc:chgData name="Rachel Profitt" userId="33e63d03-b0ce-4cee-8a7f-3417702ed3c2" providerId="ADAL" clId="{509C912A-1794-4FF4-AFCA-78B7A7015AB1}" dt="2020-10-22T17:51:18.525" v="68" actId="47"/>
        <pc:sldMkLst>
          <pc:docMk/>
          <pc:sldMk cId="433564642" sldId="2053"/>
        </pc:sldMkLst>
      </pc:sldChg>
      <pc:sldChg chg="del">
        <pc:chgData name="Rachel Profitt" userId="33e63d03-b0ce-4cee-8a7f-3417702ed3c2" providerId="ADAL" clId="{509C912A-1794-4FF4-AFCA-78B7A7015AB1}" dt="2020-10-22T17:51:18.525" v="68" actId="47"/>
        <pc:sldMkLst>
          <pc:docMk/>
          <pc:sldMk cId="3664864853" sldId="2073"/>
        </pc:sldMkLst>
      </pc:sldChg>
      <pc:sldChg chg="del">
        <pc:chgData name="Rachel Profitt" userId="33e63d03-b0ce-4cee-8a7f-3417702ed3c2" providerId="ADAL" clId="{509C912A-1794-4FF4-AFCA-78B7A7015AB1}" dt="2020-10-22T17:51:18.525" v="68" actId="47"/>
        <pc:sldMkLst>
          <pc:docMk/>
          <pc:sldMk cId="570949150" sldId="2074"/>
        </pc:sldMkLst>
      </pc:sldChg>
      <pc:sldChg chg="del">
        <pc:chgData name="Rachel Profitt" userId="33e63d03-b0ce-4cee-8a7f-3417702ed3c2" providerId="ADAL" clId="{509C912A-1794-4FF4-AFCA-78B7A7015AB1}" dt="2020-10-22T17:50:56.833" v="67" actId="47"/>
        <pc:sldMkLst>
          <pc:docMk/>
          <pc:sldMk cId="2274121145" sldId="2075"/>
        </pc:sldMkLst>
      </pc:sldChg>
      <pc:sldChg chg="del">
        <pc:chgData name="Rachel Profitt" userId="33e63d03-b0ce-4cee-8a7f-3417702ed3c2" providerId="ADAL" clId="{509C912A-1794-4FF4-AFCA-78B7A7015AB1}" dt="2020-10-22T17:50:56.833" v="67" actId="47"/>
        <pc:sldMkLst>
          <pc:docMk/>
          <pc:sldMk cId="1924441372" sldId="2076"/>
        </pc:sldMkLst>
      </pc:sldChg>
      <pc:sldChg chg="del">
        <pc:chgData name="Rachel Profitt" userId="33e63d03-b0ce-4cee-8a7f-3417702ed3c2" providerId="ADAL" clId="{509C912A-1794-4FF4-AFCA-78B7A7015AB1}" dt="2020-10-22T17:50:56.833" v="67" actId="47"/>
        <pc:sldMkLst>
          <pc:docMk/>
          <pc:sldMk cId="3470395829" sldId="2077"/>
        </pc:sldMkLst>
      </pc:sldChg>
      <pc:sldChg chg="del">
        <pc:chgData name="Rachel Profitt" userId="33e63d03-b0ce-4cee-8a7f-3417702ed3c2" providerId="ADAL" clId="{509C912A-1794-4FF4-AFCA-78B7A7015AB1}" dt="2020-10-22T17:51:18.525" v="68" actId="47"/>
        <pc:sldMkLst>
          <pc:docMk/>
          <pc:sldMk cId="3074164141" sldId="2078"/>
        </pc:sldMkLst>
      </pc:sldChg>
      <pc:sldChg chg="del">
        <pc:chgData name="Rachel Profitt" userId="33e63d03-b0ce-4cee-8a7f-3417702ed3c2" providerId="ADAL" clId="{509C912A-1794-4FF4-AFCA-78B7A7015AB1}" dt="2020-10-22T17:51:18.525" v="68" actId="47"/>
        <pc:sldMkLst>
          <pc:docMk/>
          <pc:sldMk cId="378498236" sldId="2079"/>
        </pc:sldMkLst>
      </pc:sldChg>
      <pc:sldChg chg="del">
        <pc:chgData name="Rachel Profitt" userId="33e63d03-b0ce-4cee-8a7f-3417702ed3c2" providerId="ADAL" clId="{509C912A-1794-4FF4-AFCA-78B7A7015AB1}" dt="2020-10-22T17:50:56.833" v="67" actId="47"/>
        <pc:sldMkLst>
          <pc:docMk/>
          <pc:sldMk cId="1713461640" sldId="2082"/>
        </pc:sldMkLst>
      </pc:sldChg>
      <pc:sldChg chg="del">
        <pc:chgData name="Rachel Profitt" userId="33e63d03-b0ce-4cee-8a7f-3417702ed3c2" providerId="ADAL" clId="{509C912A-1794-4FF4-AFCA-78B7A7015AB1}" dt="2020-10-22T17:50:56.833" v="67" actId="47"/>
        <pc:sldMkLst>
          <pc:docMk/>
          <pc:sldMk cId="2506472808" sldId="2083"/>
        </pc:sldMkLst>
      </pc:sldChg>
      <pc:sldChg chg="addSp modSp mod chgLayout">
        <pc:chgData name="Rachel Profitt" userId="33e63d03-b0ce-4cee-8a7f-3417702ed3c2" providerId="ADAL" clId="{509C912A-1794-4FF4-AFCA-78B7A7015AB1}" dt="2020-10-22T17:52:08.400" v="75" actId="14100"/>
        <pc:sldMkLst>
          <pc:docMk/>
          <pc:sldMk cId="3003001123" sldId="2112"/>
        </pc:sldMkLst>
        <pc:spChg chg="mod ord">
          <ac:chgData name="Rachel Profitt" userId="33e63d03-b0ce-4cee-8a7f-3417702ed3c2" providerId="ADAL" clId="{509C912A-1794-4FF4-AFCA-78B7A7015AB1}" dt="2020-10-22T17:52:08.400" v="75" actId="14100"/>
          <ac:spMkLst>
            <pc:docMk/>
            <pc:sldMk cId="3003001123" sldId="2112"/>
            <ac:spMk id="4" creationId="{91E1388E-A56A-4206-914E-EF0361A049FD}"/>
          </ac:spMkLst>
        </pc:spChg>
        <pc:spChg chg="mod ord">
          <ac:chgData name="Rachel Profitt" userId="33e63d03-b0ce-4cee-8a7f-3417702ed3c2" providerId="ADAL" clId="{509C912A-1794-4FF4-AFCA-78B7A7015AB1}" dt="2020-10-22T17:52:05.068" v="74" actId="1076"/>
          <ac:spMkLst>
            <pc:docMk/>
            <pc:sldMk cId="3003001123" sldId="2112"/>
            <ac:spMk id="5" creationId="{9D8EA170-F704-4ACA-9DBE-BD3AD12AC8E0}"/>
          </ac:spMkLst>
        </pc:spChg>
        <pc:spChg chg="add mod">
          <ac:chgData name="Rachel Profitt" userId="33e63d03-b0ce-4cee-8a7f-3417702ed3c2" providerId="ADAL" clId="{509C912A-1794-4FF4-AFCA-78B7A7015AB1}" dt="2020-10-22T17:52:00.938" v="73" actId="1076"/>
          <ac:spMkLst>
            <pc:docMk/>
            <pc:sldMk cId="3003001123" sldId="2112"/>
            <ac:spMk id="6" creationId="{726D6336-8A35-4EC7-A7C7-9236CD068886}"/>
          </ac:spMkLst>
        </pc:spChg>
      </pc:sldChg>
      <pc:sldChg chg="del">
        <pc:chgData name="Rachel Profitt" userId="33e63d03-b0ce-4cee-8a7f-3417702ed3c2" providerId="ADAL" clId="{509C912A-1794-4FF4-AFCA-78B7A7015AB1}" dt="2020-10-22T17:51:18.525" v="68" actId="47"/>
        <pc:sldMkLst>
          <pc:docMk/>
          <pc:sldMk cId="242355289" sldId="2113"/>
        </pc:sldMkLst>
      </pc:sldChg>
      <pc:sldChg chg="del">
        <pc:chgData name="Rachel Profitt" userId="33e63d03-b0ce-4cee-8a7f-3417702ed3c2" providerId="ADAL" clId="{509C912A-1794-4FF4-AFCA-78B7A7015AB1}" dt="2020-10-22T17:50:56.833" v="67" actId="47"/>
        <pc:sldMkLst>
          <pc:docMk/>
          <pc:sldMk cId="3917128341" sldId="2115"/>
        </pc:sldMkLst>
      </pc:sldChg>
      <pc:sldChg chg="del">
        <pc:chgData name="Rachel Profitt" userId="33e63d03-b0ce-4cee-8a7f-3417702ed3c2" providerId="ADAL" clId="{509C912A-1794-4FF4-AFCA-78B7A7015AB1}" dt="2020-10-22T17:50:56.833" v="67" actId="47"/>
        <pc:sldMkLst>
          <pc:docMk/>
          <pc:sldMk cId="248200697" sldId="2116"/>
        </pc:sldMkLst>
      </pc:sldChg>
      <pc:sldChg chg="del">
        <pc:chgData name="Rachel Profitt" userId="33e63d03-b0ce-4cee-8a7f-3417702ed3c2" providerId="ADAL" clId="{509C912A-1794-4FF4-AFCA-78B7A7015AB1}" dt="2020-10-22T17:50:56.833" v="67" actId="47"/>
        <pc:sldMkLst>
          <pc:docMk/>
          <pc:sldMk cId="1843160321" sldId="2117"/>
        </pc:sldMkLst>
      </pc:sldChg>
      <pc:sldChg chg="del">
        <pc:chgData name="Rachel Profitt" userId="33e63d03-b0ce-4cee-8a7f-3417702ed3c2" providerId="ADAL" clId="{509C912A-1794-4FF4-AFCA-78B7A7015AB1}" dt="2020-10-22T17:50:56.833" v="67" actId="47"/>
        <pc:sldMkLst>
          <pc:docMk/>
          <pc:sldMk cId="2030118587" sldId="2119"/>
        </pc:sldMkLst>
      </pc:sldChg>
      <pc:sldChg chg="del">
        <pc:chgData name="Rachel Profitt" userId="33e63d03-b0ce-4cee-8a7f-3417702ed3c2" providerId="ADAL" clId="{509C912A-1794-4FF4-AFCA-78B7A7015AB1}" dt="2020-10-22T17:50:56.833" v="67" actId="47"/>
        <pc:sldMkLst>
          <pc:docMk/>
          <pc:sldMk cId="611744291" sldId="2121"/>
        </pc:sldMkLst>
      </pc:sldChg>
      <pc:sldChg chg="del">
        <pc:chgData name="Rachel Profitt" userId="33e63d03-b0ce-4cee-8a7f-3417702ed3c2" providerId="ADAL" clId="{509C912A-1794-4FF4-AFCA-78B7A7015AB1}" dt="2020-10-22T17:50:56.833" v="67" actId="47"/>
        <pc:sldMkLst>
          <pc:docMk/>
          <pc:sldMk cId="3794431042" sldId="2122"/>
        </pc:sldMkLst>
      </pc:sldChg>
      <pc:sldChg chg="del">
        <pc:chgData name="Rachel Profitt" userId="33e63d03-b0ce-4cee-8a7f-3417702ed3c2" providerId="ADAL" clId="{509C912A-1794-4FF4-AFCA-78B7A7015AB1}" dt="2020-10-22T17:50:56.833" v="67" actId="47"/>
        <pc:sldMkLst>
          <pc:docMk/>
          <pc:sldMk cId="317282383" sldId="2123"/>
        </pc:sldMkLst>
      </pc:sldChg>
      <pc:sldChg chg="del">
        <pc:chgData name="Rachel Profitt" userId="33e63d03-b0ce-4cee-8a7f-3417702ed3c2" providerId="ADAL" clId="{509C912A-1794-4FF4-AFCA-78B7A7015AB1}" dt="2020-10-22T17:51:18.525" v="68" actId="47"/>
        <pc:sldMkLst>
          <pc:docMk/>
          <pc:sldMk cId="1252474321" sldId="2124"/>
        </pc:sldMkLst>
      </pc:sldChg>
      <pc:sldChg chg="del">
        <pc:chgData name="Rachel Profitt" userId="33e63d03-b0ce-4cee-8a7f-3417702ed3c2" providerId="ADAL" clId="{509C912A-1794-4FF4-AFCA-78B7A7015AB1}" dt="2020-10-22T17:51:18.525" v="68" actId="47"/>
        <pc:sldMkLst>
          <pc:docMk/>
          <pc:sldMk cId="3620559428" sldId="2125"/>
        </pc:sldMkLst>
      </pc:sldChg>
      <pc:sldChg chg="del">
        <pc:chgData name="Rachel Profitt" userId="33e63d03-b0ce-4cee-8a7f-3417702ed3c2" providerId="ADAL" clId="{509C912A-1794-4FF4-AFCA-78B7A7015AB1}" dt="2020-10-22T17:51:18.525" v="68" actId="47"/>
        <pc:sldMkLst>
          <pc:docMk/>
          <pc:sldMk cId="4061504061" sldId="2126"/>
        </pc:sldMkLst>
      </pc:sldChg>
      <pc:sldChg chg="del">
        <pc:chgData name="Rachel Profitt" userId="33e63d03-b0ce-4cee-8a7f-3417702ed3c2" providerId="ADAL" clId="{509C912A-1794-4FF4-AFCA-78B7A7015AB1}" dt="2020-10-22T17:51:18.525" v="68" actId="47"/>
        <pc:sldMkLst>
          <pc:docMk/>
          <pc:sldMk cId="2336657879" sldId="2127"/>
        </pc:sldMkLst>
      </pc:sldChg>
      <pc:sldChg chg="del">
        <pc:chgData name="Rachel Profitt" userId="33e63d03-b0ce-4cee-8a7f-3417702ed3c2" providerId="ADAL" clId="{509C912A-1794-4FF4-AFCA-78B7A7015AB1}" dt="2020-10-22T17:51:18.525" v="68" actId="47"/>
        <pc:sldMkLst>
          <pc:docMk/>
          <pc:sldMk cId="3271990136" sldId="2128"/>
        </pc:sldMkLst>
      </pc:sldChg>
      <pc:sldChg chg="del">
        <pc:chgData name="Rachel Profitt" userId="33e63d03-b0ce-4cee-8a7f-3417702ed3c2" providerId="ADAL" clId="{509C912A-1794-4FF4-AFCA-78B7A7015AB1}" dt="2020-10-22T17:51:18.525" v="68" actId="47"/>
        <pc:sldMkLst>
          <pc:docMk/>
          <pc:sldMk cId="3042095201" sldId="2129"/>
        </pc:sldMkLst>
      </pc:sldChg>
      <pc:sldChg chg="del">
        <pc:chgData name="Rachel Profitt" userId="33e63d03-b0ce-4cee-8a7f-3417702ed3c2" providerId="ADAL" clId="{509C912A-1794-4FF4-AFCA-78B7A7015AB1}" dt="2020-10-22T17:51:18.525" v="68" actId="47"/>
        <pc:sldMkLst>
          <pc:docMk/>
          <pc:sldMk cId="4244188732" sldId="2130"/>
        </pc:sldMkLst>
      </pc:sldChg>
      <pc:sldChg chg="del">
        <pc:chgData name="Rachel Profitt" userId="33e63d03-b0ce-4cee-8a7f-3417702ed3c2" providerId="ADAL" clId="{509C912A-1794-4FF4-AFCA-78B7A7015AB1}" dt="2020-10-22T17:51:18.525" v="68" actId="47"/>
        <pc:sldMkLst>
          <pc:docMk/>
          <pc:sldMk cId="1005555247" sldId="2131"/>
        </pc:sldMkLst>
      </pc:sldChg>
      <pc:sldChg chg="del">
        <pc:chgData name="Rachel Profitt" userId="33e63d03-b0ce-4cee-8a7f-3417702ed3c2" providerId="ADAL" clId="{509C912A-1794-4FF4-AFCA-78B7A7015AB1}" dt="2020-10-22T17:51:18.525" v="68" actId="47"/>
        <pc:sldMkLst>
          <pc:docMk/>
          <pc:sldMk cId="2231584360" sldId="2132"/>
        </pc:sldMkLst>
      </pc:sldChg>
      <pc:sldChg chg="del">
        <pc:chgData name="Rachel Profitt" userId="33e63d03-b0ce-4cee-8a7f-3417702ed3c2" providerId="ADAL" clId="{509C912A-1794-4FF4-AFCA-78B7A7015AB1}" dt="2020-10-22T17:51:18.525" v="68" actId="47"/>
        <pc:sldMkLst>
          <pc:docMk/>
          <pc:sldMk cId="299719225" sldId="2133"/>
        </pc:sldMkLst>
      </pc:sldChg>
      <pc:sldChg chg="del">
        <pc:chgData name="Rachel Profitt" userId="33e63d03-b0ce-4cee-8a7f-3417702ed3c2" providerId="ADAL" clId="{509C912A-1794-4FF4-AFCA-78B7A7015AB1}" dt="2020-10-22T17:51:18.525" v="68" actId="47"/>
        <pc:sldMkLst>
          <pc:docMk/>
          <pc:sldMk cId="1892097127" sldId="2134"/>
        </pc:sldMkLst>
      </pc:sldChg>
    </pc:docChg>
  </pc:docChgLst>
  <pc:docChgLst>
    <pc:chgData name="Antoan Hristov" userId="18d06f43-c44c-4dda-b127-9001859cf7a3" providerId="ADAL" clId="{BD178CD9-001C-4AF8-BF3C-95722E36357C}"/>
    <pc:docChg chg="modSld">
      <pc:chgData name="Antoan Hristov" userId="18d06f43-c44c-4dda-b127-9001859cf7a3" providerId="ADAL" clId="{BD178CD9-001C-4AF8-BF3C-95722E36357C}" dt="2021-07-07T18:30:57.047" v="0" actId="164"/>
      <pc:docMkLst>
        <pc:docMk/>
      </pc:docMkLst>
      <pc:sldChg chg="addSp mod">
        <pc:chgData name="Antoan Hristov" userId="18d06f43-c44c-4dda-b127-9001859cf7a3" providerId="ADAL" clId="{BD178CD9-001C-4AF8-BF3C-95722E36357C}" dt="2021-07-07T18:30:57.047" v="0" actId="164"/>
        <pc:sldMkLst>
          <pc:docMk/>
          <pc:sldMk cId="443274503" sldId="2076137454"/>
        </pc:sldMkLst>
        <pc:grpChg chg="add">
          <ac:chgData name="Antoan Hristov" userId="18d06f43-c44c-4dda-b127-9001859cf7a3" providerId="ADAL" clId="{BD178CD9-001C-4AF8-BF3C-95722E36357C}" dt="2021-07-07T18:30:57.047" v="0" actId="164"/>
          <ac:grpSpMkLst>
            <pc:docMk/>
            <pc:sldMk cId="443274503" sldId="2076137454"/>
            <ac:grpSpMk id="3" creationId="{584E9ECA-F3D2-4517-8233-290994F86829}"/>
          </ac:grpSpMkLst>
        </pc:grpChg>
      </pc:sldChg>
    </pc:docChg>
  </pc:docChgLst>
  <pc:docChgLst>
    <pc:chgData name="Vânia Ferramacho" userId="dcac6f62-0268-4a6c-985f-04d532edf992" providerId="ADAL" clId="{8E18855A-8A2A-4452-916B-62E64B4CB180}"/>
    <pc:docChg chg="undo custSel addSld modSld sldOrd modSection">
      <pc:chgData name="Vânia Ferramacho" userId="dcac6f62-0268-4a6c-985f-04d532edf992" providerId="ADAL" clId="{8E18855A-8A2A-4452-916B-62E64B4CB180}" dt="2021-03-16T18:03:48.800" v="435"/>
      <pc:docMkLst>
        <pc:docMk/>
      </pc:docMkLst>
      <pc:sldChg chg="addSp modSp mod addCm modCm">
        <pc:chgData name="Vânia Ferramacho" userId="dcac6f62-0268-4a6c-985f-04d532edf992" providerId="ADAL" clId="{8E18855A-8A2A-4452-916B-62E64B4CB180}" dt="2021-03-16T17:33:21.805" v="316"/>
        <pc:sldMkLst>
          <pc:docMk/>
          <pc:sldMk cId="1094870920" sldId="1735"/>
        </pc:sldMkLst>
        <pc:spChg chg="mod">
          <ac:chgData name="Vânia Ferramacho" userId="dcac6f62-0268-4a6c-985f-04d532edf992" providerId="ADAL" clId="{8E18855A-8A2A-4452-916B-62E64B4CB180}" dt="2021-03-16T17:32:35.312" v="315" actId="1036"/>
          <ac:spMkLst>
            <pc:docMk/>
            <pc:sldMk cId="1094870920" sldId="1735"/>
            <ac:spMk id="3" creationId="{810CC32F-6D14-4516-8AFD-A517F4160133}"/>
          </ac:spMkLst>
        </pc:spChg>
        <pc:spChg chg="mod">
          <ac:chgData name="Vânia Ferramacho" userId="dcac6f62-0268-4a6c-985f-04d532edf992" providerId="ADAL" clId="{8E18855A-8A2A-4452-916B-62E64B4CB180}" dt="2021-03-16T17:31:39.918" v="259" actId="1036"/>
          <ac:spMkLst>
            <pc:docMk/>
            <pc:sldMk cId="1094870920" sldId="1735"/>
            <ac:spMk id="103" creationId="{58D773B7-673F-419E-B0B9-B5B66FF34DCD}"/>
          </ac:spMkLst>
        </pc:spChg>
        <pc:spChg chg="mod">
          <ac:chgData name="Vânia Ferramacho" userId="dcac6f62-0268-4a6c-985f-04d532edf992" providerId="ADAL" clId="{8E18855A-8A2A-4452-916B-62E64B4CB180}" dt="2021-03-16T17:31:49.017" v="302" actId="1035"/>
          <ac:spMkLst>
            <pc:docMk/>
            <pc:sldMk cId="1094870920" sldId="1735"/>
            <ac:spMk id="104" creationId="{1F9281E3-1F1D-4B02-A80D-710A4BB90B72}"/>
          </ac:spMkLst>
        </pc:spChg>
        <pc:spChg chg="add mod">
          <ac:chgData name="Vânia Ferramacho" userId="dcac6f62-0268-4a6c-985f-04d532edf992" providerId="ADAL" clId="{8E18855A-8A2A-4452-916B-62E64B4CB180}" dt="2021-03-16T17:31:31.387" v="231" actId="571"/>
          <ac:spMkLst>
            <pc:docMk/>
            <pc:sldMk cId="1094870920" sldId="1735"/>
            <ac:spMk id="122" creationId="{5BAAA6C1-7FED-416E-983D-F253920EC3EE}"/>
          </ac:spMkLst>
        </pc:spChg>
        <pc:spChg chg="add mod">
          <ac:chgData name="Vânia Ferramacho" userId="dcac6f62-0268-4a6c-985f-04d532edf992" providerId="ADAL" clId="{8E18855A-8A2A-4452-916B-62E64B4CB180}" dt="2021-03-16T17:31:31.387" v="231" actId="571"/>
          <ac:spMkLst>
            <pc:docMk/>
            <pc:sldMk cId="1094870920" sldId="1735"/>
            <ac:spMk id="123" creationId="{FA4B8DE1-1644-4E95-9003-8056B90FF83B}"/>
          </ac:spMkLst>
        </pc:spChg>
        <pc:grpChg chg="mod">
          <ac:chgData name="Vânia Ferramacho" userId="dcac6f62-0268-4a6c-985f-04d532edf992" providerId="ADAL" clId="{8E18855A-8A2A-4452-916B-62E64B4CB180}" dt="2021-03-16T17:31:39.918" v="259" actId="1036"/>
          <ac:grpSpMkLst>
            <pc:docMk/>
            <pc:sldMk cId="1094870920" sldId="1735"/>
            <ac:grpSpMk id="90" creationId="{AB4443CD-27CA-4DBD-A805-FB445344CC74}"/>
          </ac:grpSpMkLst>
        </pc:grpChg>
      </pc:sldChg>
      <pc:sldChg chg="modNotesTx">
        <pc:chgData name="Vânia Ferramacho" userId="dcac6f62-0268-4a6c-985f-04d532edf992" providerId="ADAL" clId="{8E18855A-8A2A-4452-916B-62E64B4CB180}" dt="2021-03-09T11:38:04.270" v="6"/>
        <pc:sldMkLst>
          <pc:docMk/>
          <pc:sldMk cId="2345068032" sldId="1786"/>
        </pc:sldMkLst>
      </pc:sldChg>
      <pc:sldChg chg="modSp mod modShow">
        <pc:chgData name="Vânia Ferramacho" userId="dcac6f62-0268-4a6c-985f-04d532edf992" providerId="ADAL" clId="{8E18855A-8A2A-4452-916B-62E64B4CB180}" dt="2021-03-16T14:50:24.215" v="195" actId="13926"/>
        <pc:sldMkLst>
          <pc:docMk/>
          <pc:sldMk cId="2633977528" sldId="1798"/>
        </pc:sldMkLst>
        <pc:spChg chg="mod">
          <ac:chgData name="Vânia Ferramacho" userId="dcac6f62-0268-4a6c-985f-04d532edf992" providerId="ADAL" clId="{8E18855A-8A2A-4452-916B-62E64B4CB180}" dt="2021-03-16T14:50:24.215" v="195" actId="13926"/>
          <ac:spMkLst>
            <pc:docMk/>
            <pc:sldMk cId="2633977528" sldId="1798"/>
            <ac:spMk id="31" creationId="{A35E9EE8-3792-4935-BDF4-3CC3B6FBB0A0}"/>
          </ac:spMkLst>
        </pc:spChg>
      </pc:sldChg>
      <pc:sldChg chg="addSp modSp mod">
        <pc:chgData name="Vânia Ferramacho" userId="dcac6f62-0268-4a6c-985f-04d532edf992" providerId="ADAL" clId="{8E18855A-8A2A-4452-916B-62E64B4CB180}" dt="2021-03-16T14:33:04.486" v="71" actId="21"/>
        <pc:sldMkLst>
          <pc:docMk/>
          <pc:sldMk cId="2356428871" sldId="3131"/>
        </pc:sldMkLst>
        <pc:spChg chg="add mod">
          <ac:chgData name="Vânia Ferramacho" userId="dcac6f62-0268-4a6c-985f-04d532edf992" providerId="ADAL" clId="{8E18855A-8A2A-4452-916B-62E64B4CB180}" dt="2021-03-09T11:43:35.438" v="14" actId="1076"/>
          <ac:spMkLst>
            <pc:docMk/>
            <pc:sldMk cId="2356428871" sldId="3131"/>
            <ac:spMk id="15" creationId="{1380E901-DA6B-4FDB-B129-4220E40E5FDA}"/>
          </ac:spMkLst>
        </pc:spChg>
        <pc:spChg chg="mod">
          <ac:chgData name="Vânia Ferramacho" userId="dcac6f62-0268-4a6c-985f-04d532edf992" providerId="ADAL" clId="{8E18855A-8A2A-4452-916B-62E64B4CB180}" dt="2021-03-16T14:33:04.486" v="71" actId="21"/>
          <ac:spMkLst>
            <pc:docMk/>
            <pc:sldMk cId="2356428871" sldId="3131"/>
            <ac:spMk id="18" creationId="{F7FFC796-F34B-4DED-903E-86BDCA23164A}"/>
          </ac:spMkLst>
        </pc:spChg>
        <pc:spChg chg="mod">
          <ac:chgData name="Vânia Ferramacho" userId="dcac6f62-0268-4a6c-985f-04d532edf992" providerId="ADAL" clId="{8E18855A-8A2A-4452-916B-62E64B4CB180}" dt="2021-03-09T11:43:29.238" v="13"/>
          <ac:spMkLst>
            <pc:docMk/>
            <pc:sldMk cId="2356428871" sldId="3131"/>
            <ac:spMk id="21" creationId="{2D41CED8-3F3D-4974-BF9A-48AF9390090A}"/>
          </ac:spMkLst>
        </pc:spChg>
        <pc:spChg chg="mod">
          <ac:chgData name="Vânia Ferramacho" userId="dcac6f62-0268-4a6c-985f-04d532edf992" providerId="ADAL" clId="{8E18855A-8A2A-4452-916B-62E64B4CB180}" dt="2021-03-09T11:43:29.238" v="13"/>
          <ac:spMkLst>
            <pc:docMk/>
            <pc:sldMk cId="2356428871" sldId="3131"/>
            <ac:spMk id="30" creationId="{2E3606B0-2F50-446B-AA35-8CEDE5D50D2B}"/>
          </ac:spMkLst>
        </pc:spChg>
        <pc:spChg chg="mod">
          <ac:chgData name="Vânia Ferramacho" userId="dcac6f62-0268-4a6c-985f-04d532edf992" providerId="ADAL" clId="{8E18855A-8A2A-4452-916B-62E64B4CB180}" dt="2021-03-09T11:43:40.074" v="15" actId="14100"/>
          <ac:spMkLst>
            <pc:docMk/>
            <pc:sldMk cId="2356428871" sldId="3131"/>
            <ac:spMk id="46" creationId="{423E3344-0D3E-40C6-A30D-D9146C16FFD2}"/>
          </ac:spMkLst>
        </pc:spChg>
        <pc:spChg chg="mod">
          <ac:chgData name="Vânia Ferramacho" userId="dcac6f62-0268-4a6c-985f-04d532edf992" providerId="ADAL" clId="{8E18855A-8A2A-4452-916B-62E64B4CB180}" dt="2021-03-09T11:43:50.790" v="17" actId="14100"/>
          <ac:spMkLst>
            <pc:docMk/>
            <pc:sldMk cId="2356428871" sldId="3131"/>
            <ac:spMk id="47" creationId="{3153E1ED-F3FC-47BC-86FF-ABC256FF54B7}"/>
          </ac:spMkLst>
        </pc:spChg>
        <pc:grpChg chg="add mod">
          <ac:chgData name="Vânia Ferramacho" userId="dcac6f62-0268-4a6c-985f-04d532edf992" providerId="ADAL" clId="{8E18855A-8A2A-4452-916B-62E64B4CB180}" dt="2021-03-09T11:43:35.438" v="14" actId="1076"/>
          <ac:grpSpMkLst>
            <pc:docMk/>
            <pc:sldMk cId="2356428871" sldId="3131"/>
            <ac:grpSpMk id="17" creationId="{8C81341D-F3EA-4A35-9D4F-5BA9E6F18011}"/>
          </ac:grpSpMkLst>
        </pc:grpChg>
        <pc:grpChg chg="mod">
          <ac:chgData name="Vânia Ferramacho" userId="dcac6f62-0268-4a6c-985f-04d532edf992" providerId="ADAL" clId="{8E18855A-8A2A-4452-916B-62E64B4CB180}" dt="2021-03-09T11:43:29.238" v="13"/>
          <ac:grpSpMkLst>
            <pc:docMk/>
            <pc:sldMk cId="2356428871" sldId="3131"/>
            <ac:grpSpMk id="19" creationId="{101FCE4E-83F1-4DF2-BF27-84249DBC2B3A}"/>
          </ac:grpSpMkLst>
        </pc:grpChg>
        <pc:grpChg chg="mod">
          <ac:chgData name="Vânia Ferramacho" userId="dcac6f62-0268-4a6c-985f-04d532edf992" providerId="ADAL" clId="{8E18855A-8A2A-4452-916B-62E64B4CB180}" dt="2021-03-09T11:43:50.790" v="17" actId="14100"/>
          <ac:grpSpMkLst>
            <pc:docMk/>
            <pc:sldMk cId="2356428871" sldId="3131"/>
            <ac:grpSpMk id="25" creationId="{68EA5DDC-E544-4F4D-AB26-DF041AFF16F8}"/>
          </ac:grpSpMkLst>
        </pc:grpChg>
      </pc:sldChg>
      <pc:sldChg chg="modCm">
        <pc:chgData name="Vânia Ferramacho" userId="dcac6f62-0268-4a6c-985f-04d532edf992" providerId="ADAL" clId="{8E18855A-8A2A-4452-916B-62E64B4CB180}" dt="2021-03-16T17:22:32.926" v="196"/>
        <pc:sldMkLst>
          <pc:docMk/>
          <pc:sldMk cId="3744392427" sldId="3137"/>
        </pc:sldMkLst>
      </pc:sldChg>
      <pc:sldChg chg="modNotesTx">
        <pc:chgData name="Vânia Ferramacho" userId="dcac6f62-0268-4a6c-985f-04d532edf992" providerId="ADAL" clId="{8E18855A-8A2A-4452-916B-62E64B4CB180}" dt="2021-03-16T14:29:29.221" v="67" actId="20577"/>
        <pc:sldMkLst>
          <pc:docMk/>
          <pc:sldMk cId="1478783221" sldId="3142"/>
        </pc:sldMkLst>
      </pc:sldChg>
      <pc:sldChg chg="modSp mod modNotesTx">
        <pc:chgData name="Vânia Ferramacho" userId="dcac6f62-0268-4a6c-985f-04d532edf992" providerId="ADAL" clId="{8E18855A-8A2A-4452-916B-62E64B4CB180}" dt="2021-03-16T17:58:26.241" v="427" actId="33524"/>
        <pc:sldMkLst>
          <pc:docMk/>
          <pc:sldMk cId="69220512" sldId="3143"/>
        </pc:sldMkLst>
        <pc:spChg chg="mod">
          <ac:chgData name="Vânia Ferramacho" userId="dcac6f62-0268-4a6c-985f-04d532edf992" providerId="ADAL" clId="{8E18855A-8A2A-4452-916B-62E64B4CB180}" dt="2021-03-16T14:40:43.450" v="151"/>
          <ac:spMkLst>
            <pc:docMk/>
            <pc:sldMk cId="69220512" sldId="3143"/>
            <ac:spMk id="15" creationId="{BDD64BFD-7ED9-4476-ABC3-6BBAC4A275B2}"/>
          </ac:spMkLst>
        </pc:spChg>
      </pc:sldChg>
      <pc:sldChg chg="mod modShow">
        <pc:chgData name="Vânia Ferramacho" userId="dcac6f62-0268-4a6c-985f-04d532edf992" providerId="ADAL" clId="{8E18855A-8A2A-4452-916B-62E64B4CB180}" dt="2021-03-16T14:44:07.389" v="152" actId="729"/>
        <pc:sldMkLst>
          <pc:docMk/>
          <pc:sldMk cId="3958190650" sldId="3144"/>
        </pc:sldMkLst>
      </pc:sldChg>
      <pc:sldChg chg="mod modShow">
        <pc:chgData name="Vânia Ferramacho" userId="dcac6f62-0268-4a6c-985f-04d532edf992" providerId="ADAL" clId="{8E18855A-8A2A-4452-916B-62E64B4CB180}" dt="2021-03-16T14:44:17.211" v="155" actId="729"/>
        <pc:sldMkLst>
          <pc:docMk/>
          <pc:sldMk cId="191795645" sldId="3145"/>
        </pc:sldMkLst>
      </pc:sldChg>
      <pc:sldChg chg="modSp mod">
        <pc:chgData name="Vânia Ferramacho" userId="dcac6f62-0268-4a6c-985f-04d532edf992" providerId="ADAL" clId="{8E18855A-8A2A-4452-916B-62E64B4CB180}" dt="2021-03-16T17:54:30.405" v="420"/>
        <pc:sldMkLst>
          <pc:docMk/>
          <pc:sldMk cId="3779075657" sldId="3148"/>
        </pc:sldMkLst>
        <pc:spChg chg="mod">
          <ac:chgData name="Vânia Ferramacho" userId="dcac6f62-0268-4a6c-985f-04d532edf992" providerId="ADAL" clId="{8E18855A-8A2A-4452-916B-62E64B4CB180}" dt="2021-03-16T17:54:30.405" v="420"/>
          <ac:spMkLst>
            <pc:docMk/>
            <pc:sldMk cId="3779075657" sldId="3148"/>
            <ac:spMk id="10" creationId="{53EC6F74-4994-4365-BF20-3ACC76EB7EDA}"/>
          </ac:spMkLst>
        </pc:spChg>
      </pc:sldChg>
      <pc:sldChg chg="modSp mod ord">
        <pc:chgData name="Vânia Ferramacho" userId="dcac6f62-0268-4a6c-985f-04d532edf992" providerId="ADAL" clId="{8E18855A-8A2A-4452-916B-62E64B4CB180}" dt="2021-03-09T12:04:51.515" v="24"/>
        <pc:sldMkLst>
          <pc:docMk/>
          <pc:sldMk cId="286903400" sldId="3149"/>
        </pc:sldMkLst>
        <pc:spChg chg="mod">
          <ac:chgData name="Vânia Ferramacho" userId="dcac6f62-0268-4a6c-985f-04d532edf992" providerId="ADAL" clId="{8E18855A-8A2A-4452-916B-62E64B4CB180}" dt="2021-03-09T12:04:35.615" v="22"/>
          <ac:spMkLst>
            <pc:docMk/>
            <pc:sldMk cId="286903400" sldId="3149"/>
            <ac:spMk id="10" creationId="{53EC6F74-4994-4365-BF20-3ACC76EB7EDA}"/>
          </ac:spMkLst>
        </pc:spChg>
      </pc:sldChg>
      <pc:sldChg chg="addSp delSp modSp mod addCm">
        <pc:chgData name="Vânia Ferramacho" userId="dcac6f62-0268-4a6c-985f-04d532edf992" providerId="ADAL" clId="{8E18855A-8A2A-4452-916B-62E64B4CB180}" dt="2021-03-09T12:32:05.499" v="33"/>
        <pc:sldMkLst>
          <pc:docMk/>
          <pc:sldMk cId="95491136" sldId="3150"/>
        </pc:sldMkLst>
        <pc:picChg chg="del">
          <ac:chgData name="Vânia Ferramacho" userId="dcac6f62-0268-4a6c-985f-04d532edf992" providerId="ADAL" clId="{8E18855A-8A2A-4452-916B-62E64B4CB180}" dt="2021-03-09T12:31:40.109" v="31" actId="478"/>
          <ac:picMkLst>
            <pc:docMk/>
            <pc:sldMk cId="95491136" sldId="3150"/>
            <ac:picMk id="7" creationId="{B4BDE2EB-46EE-1D4C-ACC6-469F3C5178D2}"/>
          </ac:picMkLst>
        </pc:picChg>
        <pc:picChg chg="add mod">
          <ac:chgData name="Vânia Ferramacho" userId="dcac6f62-0268-4a6c-985f-04d532edf992" providerId="ADAL" clId="{8E18855A-8A2A-4452-916B-62E64B4CB180}" dt="2021-03-09T12:31:45.441" v="32"/>
          <ac:picMkLst>
            <pc:docMk/>
            <pc:sldMk cId="95491136" sldId="3150"/>
            <ac:picMk id="8" creationId="{7AD92DA9-5BA7-4E94-A05B-B424FB0DA08F}"/>
          </ac:picMkLst>
        </pc:picChg>
      </pc:sldChg>
      <pc:sldChg chg="modCm">
        <pc:chgData name="Vânia Ferramacho" userId="dcac6f62-0268-4a6c-985f-04d532edf992" providerId="ADAL" clId="{8E18855A-8A2A-4452-916B-62E64B4CB180}" dt="2021-03-16T14:28:54.698" v="57"/>
        <pc:sldMkLst>
          <pc:docMk/>
          <pc:sldMk cId="159698772" sldId="2076137458"/>
        </pc:sldMkLst>
      </pc:sldChg>
      <pc:sldChg chg="modSp mod modNotesTx">
        <pc:chgData name="Vânia Ferramacho" userId="dcac6f62-0268-4a6c-985f-04d532edf992" providerId="ADAL" clId="{8E18855A-8A2A-4452-916B-62E64B4CB180}" dt="2021-03-16T17:44:49.532" v="339" actId="6549"/>
        <pc:sldMkLst>
          <pc:docMk/>
          <pc:sldMk cId="3021527048" sldId="2076137460"/>
        </pc:sldMkLst>
        <pc:spChg chg="mod">
          <ac:chgData name="Vânia Ferramacho" userId="dcac6f62-0268-4a6c-985f-04d532edf992" providerId="ADAL" clId="{8E18855A-8A2A-4452-916B-62E64B4CB180}" dt="2021-03-16T14:31:17.892" v="68" actId="21"/>
          <ac:spMkLst>
            <pc:docMk/>
            <pc:sldMk cId="3021527048" sldId="2076137460"/>
            <ac:spMk id="48" creationId="{7E5CB00B-19B5-4FEC-80FF-940E8DAF0250}"/>
          </ac:spMkLst>
        </pc:spChg>
        <pc:spChg chg="mod">
          <ac:chgData name="Vânia Ferramacho" userId="dcac6f62-0268-4a6c-985f-04d532edf992" providerId="ADAL" clId="{8E18855A-8A2A-4452-916B-62E64B4CB180}" dt="2021-03-16T14:34:19.594" v="112"/>
          <ac:spMkLst>
            <pc:docMk/>
            <pc:sldMk cId="3021527048" sldId="2076137460"/>
            <ac:spMk id="52" creationId="{56436D73-829E-438E-AE79-D88C49494BCA}"/>
          </ac:spMkLst>
        </pc:spChg>
        <pc:spChg chg="mod">
          <ac:chgData name="Vânia Ferramacho" userId="dcac6f62-0268-4a6c-985f-04d532edf992" providerId="ADAL" clId="{8E18855A-8A2A-4452-916B-62E64B4CB180}" dt="2021-03-16T14:34:22.081" v="113"/>
          <ac:spMkLst>
            <pc:docMk/>
            <pc:sldMk cId="3021527048" sldId="2076137460"/>
            <ac:spMk id="58" creationId="{328DBF5F-9DBF-4AD4-AC18-9352FAC129AD}"/>
          </ac:spMkLst>
        </pc:spChg>
        <pc:spChg chg="mod">
          <ac:chgData name="Vânia Ferramacho" userId="dcac6f62-0268-4a6c-985f-04d532edf992" providerId="ADAL" clId="{8E18855A-8A2A-4452-916B-62E64B4CB180}" dt="2021-03-16T14:34:08.906" v="108" actId="20577"/>
          <ac:spMkLst>
            <pc:docMk/>
            <pc:sldMk cId="3021527048" sldId="2076137460"/>
            <ac:spMk id="59" creationId="{40EBEB94-9834-4BBF-97B1-656CDC7ADAE5}"/>
          </ac:spMkLst>
        </pc:spChg>
        <pc:spChg chg="mod">
          <ac:chgData name="Vânia Ferramacho" userId="dcac6f62-0268-4a6c-985f-04d532edf992" providerId="ADAL" clId="{8E18855A-8A2A-4452-916B-62E64B4CB180}" dt="2021-03-16T14:34:14.959" v="110"/>
          <ac:spMkLst>
            <pc:docMk/>
            <pc:sldMk cId="3021527048" sldId="2076137460"/>
            <ac:spMk id="60" creationId="{FBE556BD-C124-4A6A-99F0-2BE2C03CCAC8}"/>
          </ac:spMkLst>
        </pc:spChg>
        <pc:spChg chg="mod">
          <ac:chgData name="Vânia Ferramacho" userId="dcac6f62-0268-4a6c-985f-04d532edf992" providerId="ADAL" clId="{8E18855A-8A2A-4452-916B-62E64B4CB180}" dt="2021-03-16T14:34:17.629" v="111"/>
          <ac:spMkLst>
            <pc:docMk/>
            <pc:sldMk cId="3021527048" sldId="2076137460"/>
            <ac:spMk id="66" creationId="{96ADE966-EDDA-4AB8-95B8-7C5BF42B1741}"/>
          </ac:spMkLst>
        </pc:spChg>
        <pc:spChg chg="mod">
          <ac:chgData name="Vânia Ferramacho" userId="dcac6f62-0268-4a6c-985f-04d532edf992" providerId="ADAL" clId="{8E18855A-8A2A-4452-916B-62E64B4CB180}" dt="2021-03-16T14:34:26.226" v="114"/>
          <ac:spMkLst>
            <pc:docMk/>
            <pc:sldMk cId="3021527048" sldId="2076137460"/>
            <ac:spMk id="72" creationId="{981E366D-E5AD-4E19-9523-1427E9F301F5}"/>
          </ac:spMkLst>
        </pc:spChg>
      </pc:sldChg>
      <pc:sldChg chg="addCm modNotesTx">
        <pc:chgData name="Vânia Ferramacho" userId="dcac6f62-0268-4a6c-985f-04d532edf992" providerId="ADAL" clId="{8E18855A-8A2A-4452-916B-62E64B4CB180}" dt="2021-03-16T18:03:48.800" v="435"/>
        <pc:sldMkLst>
          <pc:docMk/>
          <pc:sldMk cId="3014498644" sldId="2076137461"/>
        </pc:sldMkLst>
      </pc:sldChg>
      <pc:sldChg chg="modNotesTx">
        <pc:chgData name="Vânia Ferramacho" userId="dcac6f62-0268-4a6c-985f-04d532edf992" providerId="ADAL" clId="{8E18855A-8A2A-4452-916B-62E64B4CB180}" dt="2021-03-16T17:53:15.106" v="418" actId="33524"/>
        <pc:sldMkLst>
          <pc:docMk/>
          <pc:sldMk cId="4145431178" sldId="2076137462"/>
        </pc:sldMkLst>
      </pc:sldChg>
      <pc:sldChg chg="modNotesTx">
        <pc:chgData name="Vânia Ferramacho" userId="dcac6f62-0268-4a6c-985f-04d532edf992" providerId="ADAL" clId="{8E18855A-8A2A-4452-916B-62E64B4CB180}" dt="2021-03-16T17:36:29.548" v="320"/>
        <pc:sldMkLst>
          <pc:docMk/>
          <pc:sldMk cId="1045128666" sldId="2076137464"/>
        </pc:sldMkLst>
      </pc:sldChg>
      <pc:sldChg chg="modNotesTx">
        <pc:chgData name="Vânia Ferramacho" userId="dcac6f62-0268-4a6c-985f-04d532edf992" providerId="ADAL" clId="{8E18855A-8A2A-4452-916B-62E64B4CB180}" dt="2021-03-16T17:35:56.783" v="318"/>
        <pc:sldMkLst>
          <pc:docMk/>
          <pc:sldMk cId="356062852" sldId="2076137465"/>
        </pc:sldMkLst>
      </pc:sldChg>
      <pc:sldChg chg="modSp mod modShow">
        <pc:chgData name="Vânia Ferramacho" userId="dcac6f62-0268-4a6c-985f-04d532edf992" providerId="ADAL" clId="{8E18855A-8A2A-4452-916B-62E64B4CB180}" dt="2021-03-16T14:22:35.485" v="47" actId="729"/>
        <pc:sldMkLst>
          <pc:docMk/>
          <pc:sldMk cId="1444316666" sldId="2076137466"/>
        </pc:sldMkLst>
        <pc:spChg chg="mod">
          <ac:chgData name="Vânia Ferramacho" userId="dcac6f62-0268-4a6c-985f-04d532edf992" providerId="ADAL" clId="{8E18855A-8A2A-4452-916B-62E64B4CB180}" dt="2021-03-16T14:21:52.866" v="43" actId="21"/>
          <ac:spMkLst>
            <pc:docMk/>
            <pc:sldMk cId="1444316666" sldId="2076137466"/>
            <ac:spMk id="20" creationId="{3EBF0E00-3491-407A-B77E-C8A241BBCFB3}"/>
          </ac:spMkLst>
        </pc:spChg>
      </pc:sldChg>
      <pc:sldChg chg="modSp mod modShow">
        <pc:chgData name="Vânia Ferramacho" userId="dcac6f62-0268-4a6c-985f-04d532edf992" providerId="ADAL" clId="{8E18855A-8A2A-4452-916B-62E64B4CB180}" dt="2021-03-16T14:22:37.768" v="48" actId="729"/>
        <pc:sldMkLst>
          <pc:docMk/>
          <pc:sldMk cId="3704140420" sldId="2076137467"/>
        </pc:sldMkLst>
        <pc:spChg chg="mod">
          <ac:chgData name="Vânia Ferramacho" userId="dcac6f62-0268-4a6c-985f-04d532edf992" providerId="ADAL" clId="{8E18855A-8A2A-4452-916B-62E64B4CB180}" dt="2021-03-16T14:22:08.890" v="45" actId="21"/>
          <ac:spMkLst>
            <pc:docMk/>
            <pc:sldMk cId="3704140420" sldId="2076137467"/>
            <ac:spMk id="20" creationId="{3EBF0E00-3491-407A-B77E-C8A241BBCFB3}"/>
          </ac:spMkLst>
        </pc:spChg>
      </pc:sldChg>
      <pc:sldChg chg="add ord">
        <pc:chgData name="Vânia Ferramacho" userId="dcac6f62-0268-4a6c-985f-04d532edf992" providerId="ADAL" clId="{8E18855A-8A2A-4452-916B-62E64B4CB180}" dt="2021-03-09T12:12:41.193" v="29"/>
        <pc:sldMkLst>
          <pc:docMk/>
          <pc:sldMk cId="1571448589" sldId="2076137468"/>
        </pc:sldMkLst>
      </pc:sldChg>
      <pc:sldChg chg="add">
        <pc:chgData name="Vânia Ferramacho" userId="dcac6f62-0268-4a6c-985f-04d532edf992" providerId="ADAL" clId="{8E18855A-8A2A-4452-916B-62E64B4CB180}" dt="2021-03-09T11:45:53.355" v="18" actId="22"/>
        <pc:sldMkLst>
          <pc:docMk/>
          <pc:sldMk cId="2036908209" sldId="2076137469"/>
        </pc:sldMkLst>
      </pc:sldChg>
      <pc:sldChg chg="add">
        <pc:chgData name="Vânia Ferramacho" userId="dcac6f62-0268-4a6c-985f-04d532edf992" providerId="ADAL" clId="{8E18855A-8A2A-4452-916B-62E64B4CB180}" dt="2021-03-09T11:59:54.234" v="19"/>
        <pc:sldMkLst>
          <pc:docMk/>
          <pc:sldMk cId="1869729563" sldId="2076137470"/>
        </pc:sldMkLst>
      </pc:sldChg>
      <pc:sldChg chg="add">
        <pc:chgData name="Vânia Ferramacho" userId="dcac6f62-0268-4a6c-985f-04d532edf992" providerId="ADAL" clId="{8E18855A-8A2A-4452-916B-62E64B4CB180}" dt="2021-03-09T12:01:14.534" v="20"/>
        <pc:sldMkLst>
          <pc:docMk/>
          <pc:sldMk cId="1913370059" sldId="2076137471"/>
        </pc:sldMkLst>
      </pc:sldChg>
      <pc:sldChg chg="add">
        <pc:chgData name="Vânia Ferramacho" userId="dcac6f62-0268-4a6c-985f-04d532edf992" providerId="ADAL" clId="{8E18855A-8A2A-4452-916B-62E64B4CB180}" dt="2021-03-09T12:05:26.860" v="25"/>
        <pc:sldMkLst>
          <pc:docMk/>
          <pc:sldMk cId="4122498021" sldId="2076137472"/>
        </pc:sldMkLst>
      </pc:sldChg>
      <pc:sldChg chg="add mod modShow">
        <pc:chgData name="Vânia Ferramacho" userId="dcac6f62-0268-4a6c-985f-04d532edf992" providerId="ADAL" clId="{8E18855A-8A2A-4452-916B-62E64B4CB180}" dt="2021-03-16T14:44:21.361" v="156" actId="729"/>
        <pc:sldMkLst>
          <pc:docMk/>
          <pc:sldMk cId="3702462964" sldId="2076137473"/>
        </pc:sldMkLst>
      </pc:sldChg>
      <pc:sldChg chg="modNotesTx">
        <pc:chgData name="Vânia Ferramacho" userId="dcac6f62-0268-4a6c-985f-04d532edf992" providerId="ADAL" clId="{8E18855A-8A2A-4452-916B-62E64B4CB180}" dt="2021-03-16T17:43:09.448" v="333" actId="20577"/>
        <pc:sldMkLst>
          <pc:docMk/>
          <pc:sldMk cId="259656628" sldId="2076137476"/>
        </pc:sldMkLst>
      </pc:sldChg>
      <pc:sldChg chg="modSp add mod ord modNotesTx">
        <pc:chgData name="Vânia Ferramacho" userId="dcac6f62-0268-4a6c-985f-04d532edf992" providerId="ADAL" clId="{8E18855A-8A2A-4452-916B-62E64B4CB180}" dt="2021-03-16T14:23:08.280" v="56"/>
        <pc:sldMkLst>
          <pc:docMk/>
          <pc:sldMk cId="3817739245" sldId="2076137477"/>
        </pc:sldMkLst>
        <pc:spChg chg="mod">
          <ac:chgData name="Vânia Ferramacho" userId="dcac6f62-0268-4a6c-985f-04d532edf992" providerId="ADAL" clId="{8E18855A-8A2A-4452-916B-62E64B4CB180}" dt="2021-03-16T14:21:47.965" v="42"/>
          <ac:spMkLst>
            <pc:docMk/>
            <pc:sldMk cId="3817739245" sldId="2076137477"/>
            <ac:spMk id="2" creationId="{45010FE8-BF09-4146-B084-66CB05B66FD9}"/>
          </ac:spMkLst>
        </pc:spChg>
        <pc:spChg chg="mod">
          <ac:chgData name="Vânia Ferramacho" userId="dcac6f62-0268-4a6c-985f-04d532edf992" providerId="ADAL" clId="{8E18855A-8A2A-4452-916B-62E64B4CB180}" dt="2021-03-16T14:22:44.599" v="50" actId="20577"/>
          <ac:spMkLst>
            <pc:docMk/>
            <pc:sldMk cId="3817739245" sldId="2076137477"/>
            <ac:spMk id="20" creationId="{9C4A0BF9-E23F-4CFA-BFB9-1923DF03340F}"/>
          </ac:spMkLst>
        </pc:spChg>
        <pc:spChg chg="mod">
          <ac:chgData name="Vânia Ferramacho" userId="dcac6f62-0268-4a6c-985f-04d532edf992" providerId="ADAL" clId="{8E18855A-8A2A-4452-916B-62E64B4CB180}" dt="2021-03-16T14:22:46.748" v="51" actId="20577"/>
          <ac:spMkLst>
            <pc:docMk/>
            <pc:sldMk cId="3817739245" sldId="2076137477"/>
            <ac:spMk id="26" creationId="{060B385F-DDAB-4620-9658-189E6CCEF254}"/>
          </ac:spMkLst>
        </pc:spChg>
      </pc:sldChg>
    </pc:docChg>
  </pc:docChgLst>
  <pc:docChgLst>
    <pc:chgData name="Andreea Bunduc" userId="f7ddd4c3-0921-4c29-878a-c006ec77d69b" providerId="ADAL" clId="{C877C75A-BC54-4265-90B4-AF9CBA9A80D4}"/>
    <pc:docChg chg="undo redo custSel addSld delSld modSld sldOrd addSection delSection modSection">
      <pc:chgData name="Andreea Bunduc" userId="f7ddd4c3-0921-4c29-878a-c006ec77d69b" providerId="ADAL" clId="{C877C75A-BC54-4265-90B4-AF9CBA9A80D4}" dt="2021-03-25T10:26:46.842" v="16017" actId="20577"/>
      <pc:docMkLst>
        <pc:docMk/>
      </pc:docMkLst>
      <pc:sldChg chg="addSp modSp mod addCm delCm">
        <pc:chgData name="Andreea Bunduc" userId="f7ddd4c3-0921-4c29-878a-c006ec77d69b" providerId="ADAL" clId="{C877C75A-BC54-4265-90B4-AF9CBA9A80D4}" dt="2021-03-19T11:00:00.782" v="15928" actId="13926"/>
        <pc:sldMkLst>
          <pc:docMk/>
          <pc:sldMk cId="1094870920" sldId="1735"/>
        </pc:sldMkLst>
        <pc:spChg chg="add mod">
          <ac:chgData name="Andreea Bunduc" userId="f7ddd4c3-0921-4c29-878a-c006ec77d69b" providerId="ADAL" clId="{C877C75A-BC54-4265-90B4-AF9CBA9A80D4}" dt="2021-03-19T10:58:47.410" v="15855" actId="1076"/>
          <ac:spMkLst>
            <pc:docMk/>
            <pc:sldMk cId="1094870920" sldId="1735"/>
            <ac:spMk id="3" creationId="{810CC32F-6D14-4516-8AFD-A517F4160133}"/>
          </ac:spMkLst>
        </pc:spChg>
        <pc:spChg chg="mod ord">
          <ac:chgData name="Andreea Bunduc" userId="f7ddd4c3-0921-4c29-878a-c006ec77d69b" providerId="ADAL" clId="{C877C75A-BC54-4265-90B4-AF9CBA9A80D4}" dt="2021-03-19T10:58:51.596" v="15856" actId="1076"/>
          <ac:spMkLst>
            <pc:docMk/>
            <pc:sldMk cId="1094870920" sldId="1735"/>
            <ac:spMk id="41" creationId="{177907F9-2172-46A3-AEA0-8DD4122F217B}"/>
          </ac:spMkLst>
        </pc:spChg>
        <pc:spChg chg="mod">
          <ac:chgData name="Andreea Bunduc" userId="f7ddd4c3-0921-4c29-878a-c006ec77d69b" providerId="ADAL" clId="{C877C75A-BC54-4265-90B4-AF9CBA9A80D4}" dt="2021-03-08T08:46:24.957" v="3271" actId="14100"/>
          <ac:spMkLst>
            <pc:docMk/>
            <pc:sldMk cId="1094870920" sldId="1735"/>
            <ac:spMk id="57" creationId="{9A72F8EA-291F-4570-84D1-25DC141B48F8}"/>
          </ac:spMkLst>
        </pc:spChg>
        <pc:spChg chg="mod">
          <ac:chgData name="Andreea Bunduc" userId="f7ddd4c3-0921-4c29-878a-c006ec77d69b" providerId="ADAL" clId="{C877C75A-BC54-4265-90B4-AF9CBA9A80D4}" dt="2021-03-08T08:46:24.457" v="3270" actId="1076"/>
          <ac:spMkLst>
            <pc:docMk/>
            <pc:sldMk cId="1094870920" sldId="1735"/>
            <ac:spMk id="58" creationId="{9A88097F-834B-41ED-84A6-F60654AB22D0}"/>
          </ac:spMkLst>
        </pc:spChg>
        <pc:spChg chg="mod">
          <ac:chgData name="Andreea Bunduc" userId="f7ddd4c3-0921-4c29-878a-c006ec77d69b" providerId="ADAL" clId="{C877C75A-BC54-4265-90B4-AF9CBA9A80D4}" dt="2021-03-19T11:00:00.782" v="15928" actId="13926"/>
          <ac:spMkLst>
            <pc:docMk/>
            <pc:sldMk cId="1094870920" sldId="1735"/>
            <ac:spMk id="103" creationId="{58D773B7-673F-419E-B0B9-B5B66FF34DCD}"/>
          </ac:spMkLst>
        </pc:spChg>
        <pc:spChg chg="mod">
          <ac:chgData name="Andreea Bunduc" userId="f7ddd4c3-0921-4c29-878a-c006ec77d69b" providerId="ADAL" clId="{C877C75A-BC54-4265-90B4-AF9CBA9A80D4}" dt="2021-03-19T10:59:17.219" v="15927" actId="1035"/>
          <ac:spMkLst>
            <pc:docMk/>
            <pc:sldMk cId="1094870920" sldId="1735"/>
            <ac:spMk id="104" creationId="{1F9281E3-1F1D-4B02-A80D-710A4BB90B72}"/>
          </ac:spMkLst>
        </pc:spChg>
        <pc:spChg chg="mod">
          <ac:chgData name="Andreea Bunduc" userId="f7ddd4c3-0921-4c29-878a-c006ec77d69b" providerId="ADAL" clId="{C877C75A-BC54-4265-90B4-AF9CBA9A80D4}" dt="2021-03-19T08:49:20.411" v="15562" actId="400"/>
          <ac:spMkLst>
            <pc:docMk/>
            <pc:sldMk cId="1094870920" sldId="1735"/>
            <ac:spMk id="116" creationId="{6EEEBD21-8BB3-4F6E-B15F-82597B61D5C2}"/>
          </ac:spMkLst>
        </pc:spChg>
        <pc:spChg chg="mod">
          <ac:chgData name="Andreea Bunduc" userId="f7ddd4c3-0921-4c29-878a-c006ec77d69b" providerId="ADAL" clId="{C877C75A-BC54-4265-90B4-AF9CBA9A80D4}" dt="2021-03-19T08:49:17.199" v="15561" actId="400"/>
          <ac:spMkLst>
            <pc:docMk/>
            <pc:sldMk cId="1094870920" sldId="1735"/>
            <ac:spMk id="120" creationId="{D55897CE-CD2C-40DF-8493-3CDDAF0599C3}"/>
          </ac:spMkLst>
        </pc:spChg>
        <pc:grpChg chg="mod">
          <ac:chgData name="Andreea Bunduc" userId="f7ddd4c3-0921-4c29-878a-c006ec77d69b" providerId="ADAL" clId="{C877C75A-BC54-4265-90B4-AF9CBA9A80D4}" dt="2021-03-19T10:59:04.354" v="15912" actId="1035"/>
          <ac:grpSpMkLst>
            <pc:docMk/>
            <pc:sldMk cId="1094870920" sldId="1735"/>
            <ac:grpSpMk id="90" creationId="{AB4443CD-27CA-4DBD-A805-FB445344CC74}"/>
          </ac:grpSpMkLst>
        </pc:grpChg>
      </pc:sldChg>
      <pc:sldChg chg="modSp del mod modShow modNotesTx">
        <pc:chgData name="Andreea Bunduc" userId="f7ddd4c3-0921-4c29-878a-c006ec77d69b" providerId="ADAL" clId="{C877C75A-BC54-4265-90B4-AF9CBA9A80D4}" dt="2021-03-19T10:13:37.682" v="15566" actId="2696"/>
        <pc:sldMkLst>
          <pc:docMk/>
          <pc:sldMk cId="2345068032" sldId="1786"/>
        </pc:sldMkLst>
        <pc:spChg chg="mod">
          <ac:chgData name="Andreea Bunduc" userId="f7ddd4c3-0921-4c29-878a-c006ec77d69b" providerId="ADAL" clId="{C877C75A-BC54-4265-90B4-AF9CBA9A80D4}" dt="2021-03-04T20:36:04.534" v="665" actId="20577"/>
          <ac:spMkLst>
            <pc:docMk/>
            <pc:sldMk cId="2345068032" sldId="1786"/>
            <ac:spMk id="2" creationId="{45010FE8-BF09-4146-B084-66CB05B66FD9}"/>
          </ac:spMkLst>
        </pc:spChg>
        <pc:spChg chg="mod">
          <ac:chgData name="Andreea Bunduc" userId="f7ddd4c3-0921-4c29-878a-c006ec77d69b" providerId="ADAL" clId="{C877C75A-BC54-4265-90B4-AF9CBA9A80D4}" dt="2021-03-08T10:48:34.683" v="4822" actId="20577"/>
          <ac:spMkLst>
            <pc:docMk/>
            <pc:sldMk cId="2345068032" sldId="1786"/>
            <ac:spMk id="11" creationId="{76583F2C-13BC-4FA8-A9DE-F1F764C38F10}"/>
          </ac:spMkLst>
        </pc:spChg>
      </pc:sldChg>
      <pc:sldChg chg="modSp add del mod">
        <pc:chgData name="Andreea Bunduc" userId="f7ddd4c3-0921-4c29-878a-c006ec77d69b" providerId="ADAL" clId="{C877C75A-BC54-4265-90B4-AF9CBA9A80D4}" dt="2021-03-08T10:05:58.770" v="3507" actId="2696"/>
        <pc:sldMkLst>
          <pc:docMk/>
          <pc:sldMk cId="2642673045" sldId="1789"/>
        </pc:sldMkLst>
        <pc:spChg chg="mod">
          <ac:chgData name="Andreea Bunduc" userId="f7ddd4c3-0921-4c29-878a-c006ec77d69b" providerId="ADAL" clId="{C877C75A-BC54-4265-90B4-AF9CBA9A80D4}" dt="2021-03-08T10:03:44.014" v="3408" actId="1076"/>
          <ac:spMkLst>
            <pc:docMk/>
            <pc:sldMk cId="2642673045" sldId="1789"/>
            <ac:spMk id="17" creationId="{F13F2DE5-8A22-45E6-9B50-89F4CE959D79}"/>
          </ac:spMkLst>
        </pc:spChg>
        <pc:spChg chg="mod">
          <ac:chgData name="Andreea Bunduc" userId="f7ddd4c3-0921-4c29-878a-c006ec77d69b" providerId="ADAL" clId="{C877C75A-BC54-4265-90B4-AF9CBA9A80D4}" dt="2021-03-08T10:03:55.782" v="3409" actId="1076"/>
          <ac:spMkLst>
            <pc:docMk/>
            <pc:sldMk cId="2642673045" sldId="1789"/>
            <ac:spMk id="21" creationId="{36FAA62E-ABC5-45F5-9583-F27909EDF441}"/>
          </ac:spMkLst>
        </pc:spChg>
        <pc:grpChg chg="mod">
          <ac:chgData name="Andreea Bunduc" userId="f7ddd4c3-0921-4c29-878a-c006ec77d69b" providerId="ADAL" clId="{C877C75A-BC54-4265-90B4-AF9CBA9A80D4}" dt="2021-03-08T10:03:44.014" v="3408" actId="1076"/>
          <ac:grpSpMkLst>
            <pc:docMk/>
            <pc:sldMk cId="2642673045" sldId="1789"/>
            <ac:grpSpMk id="18" creationId="{146CDF0B-D4A3-461E-8675-C40686D0CC19}"/>
          </ac:grpSpMkLst>
        </pc:grpChg>
        <pc:graphicFrameChg chg="mod">
          <ac:chgData name="Andreea Bunduc" userId="f7ddd4c3-0921-4c29-878a-c006ec77d69b" providerId="ADAL" clId="{C877C75A-BC54-4265-90B4-AF9CBA9A80D4}" dt="2021-03-08T10:04:05.704" v="3433" actId="1036"/>
          <ac:graphicFrameMkLst>
            <pc:docMk/>
            <pc:sldMk cId="2642673045" sldId="1789"/>
            <ac:graphicFrameMk id="22" creationId="{26E46558-61DC-4D44-975B-557BDFC14800}"/>
          </ac:graphicFrameMkLst>
        </pc:graphicFrameChg>
        <pc:graphicFrameChg chg="mod">
          <ac:chgData name="Andreea Bunduc" userId="f7ddd4c3-0921-4c29-878a-c006ec77d69b" providerId="ADAL" clId="{C877C75A-BC54-4265-90B4-AF9CBA9A80D4}" dt="2021-03-08T10:04:05.704" v="3433" actId="1036"/>
          <ac:graphicFrameMkLst>
            <pc:docMk/>
            <pc:sldMk cId="2642673045" sldId="1789"/>
            <ac:graphicFrameMk id="24" creationId="{B0EBB6FF-2675-4ED7-8BCE-0F83D445181C}"/>
          </ac:graphicFrameMkLst>
        </pc:graphicFrameChg>
        <pc:cxnChg chg="mod">
          <ac:chgData name="Andreea Bunduc" userId="f7ddd4c3-0921-4c29-878a-c006ec77d69b" providerId="ADAL" clId="{C877C75A-BC54-4265-90B4-AF9CBA9A80D4}" dt="2021-03-08T10:04:00.530" v="3410" actId="1076"/>
          <ac:cxnSpMkLst>
            <pc:docMk/>
            <pc:sldMk cId="2642673045" sldId="1789"/>
            <ac:cxnSpMk id="16" creationId="{648D3A72-4594-4C5C-A84E-250B494C23EE}"/>
          </ac:cxnSpMkLst>
        </pc:cxnChg>
      </pc:sldChg>
      <pc:sldChg chg="del ord">
        <pc:chgData name="Andreea Bunduc" userId="f7ddd4c3-0921-4c29-878a-c006ec77d69b" providerId="ADAL" clId="{C877C75A-BC54-4265-90B4-AF9CBA9A80D4}" dt="2021-03-19T10:57:37.988" v="15852" actId="18676"/>
        <pc:sldMkLst>
          <pc:docMk/>
          <pc:sldMk cId="3071064459" sldId="1795"/>
        </pc:sldMkLst>
      </pc:sldChg>
      <pc:sldChg chg="modTransition">
        <pc:chgData name="Andreea Bunduc" userId="f7ddd4c3-0921-4c29-878a-c006ec77d69b" providerId="ADAL" clId="{C877C75A-BC54-4265-90B4-AF9CBA9A80D4}" dt="2021-03-16T16:58:22.445" v="15541"/>
        <pc:sldMkLst>
          <pc:docMk/>
          <pc:sldMk cId="855631851" sldId="1796"/>
        </pc:sldMkLst>
      </pc:sldChg>
      <pc:sldChg chg="del mod modShow">
        <pc:chgData name="Andreea Bunduc" userId="f7ddd4c3-0921-4c29-878a-c006ec77d69b" providerId="ADAL" clId="{C877C75A-BC54-4265-90B4-AF9CBA9A80D4}" dt="2021-03-19T10:56:06.181" v="15851" actId="2696"/>
        <pc:sldMkLst>
          <pc:docMk/>
          <pc:sldMk cId="2633977528" sldId="1798"/>
        </pc:sldMkLst>
      </pc:sldChg>
      <pc:sldChg chg="del">
        <pc:chgData name="Andreea Bunduc" userId="f7ddd4c3-0921-4c29-878a-c006ec77d69b" providerId="ADAL" clId="{C877C75A-BC54-4265-90B4-AF9CBA9A80D4}" dt="2021-03-11T17:11:17.088" v="11324" actId="18676"/>
        <pc:sldMkLst>
          <pc:docMk/>
          <pc:sldMk cId="737538867" sldId="1804"/>
        </pc:sldMkLst>
      </pc:sldChg>
      <pc:sldChg chg="del">
        <pc:chgData name="Andreea Bunduc" userId="f7ddd4c3-0921-4c29-878a-c006ec77d69b" providerId="ADAL" clId="{C877C75A-BC54-4265-90B4-AF9CBA9A80D4}" dt="2021-03-11T17:11:17.088" v="11324" actId="18676"/>
        <pc:sldMkLst>
          <pc:docMk/>
          <pc:sldMk cId="4107298689" sldId="1941"/>
        </pc:sldMkLst>
      </pc:sldChg>
      <pc:sldChg chg="del">
        <pc:chgData name="Andreea Bunduc" userId="f7ddd4c3-0921-4c29-878a-c006ec77d69b" providerId="ADAL" clId="{C877C75A-BC54-4265-90B4-AF9CBA9A80D4}" dt="2021-03-11T17:11:17.088" v="11324" actId="18676"/>
        <pc:sldMkLst>
          <pc:docMk/>
          <pc:sldMk cId="673758937" sldId="1994"/>
        </pc:sldMkLst>
      </pc:sldChg>
      <pc:sldChg chg="del">
        <pc:chgData name="Andreea Bunduc" userId="f7ddd4c3-0921-4c29-878a-c006ec77d69b" providerId="ADAL" clId="{C877C75A-BC54-4265-90B4-AF9CBA9A80D4}" dt="2021-03-11T17:11:17.088" v="11324" actId="18676"/>
        <pc:sldMkLst>
          <pc:docMk/>
          <pc:sldMk cId="458529531" sldId="1995"/>
        </pc:sldMkLst>
      </pc:sldChg>
      <pc:sldChg chg="del">
        <pc:chgData name="Andreea Bunduc" userId="f7ddd4c3-0921-4c29-878a-c006ec77d69b" providerId="ADAL" clId="{C877C75A-BC54-4265-90B4-AF9CBA9A80D4}" dt="2021-03-11T17:11:17.088" v="11324" actId="18676"/>
        <pc:sldMkLst>
          <pc:docMk/>
          <pc:sldMk cId="1442887744" sldId="2070"/>
        </pc:sldMkLst>
      </pc:sldChg>
      <pc:sldChg chg="del">
        <pc:chgData name="Andreea Bunduc" userId="f7ddd4c3-0921-4c29-878a-c006ec77d69b" providerId="ADAL" clId="{C877C75A-BC54-4265-90B4-AF9CBA9A80D4}" dt="2021-03-11T17:11:17.088" v="11324" actId="18676"/>
        <pc:sldMkLst>
          <pc:docMk/>
          <pc:sldMk cId="2126083460" sldId="2071"/>
        </pc:sldMkLst>
      </pc:sldChg>
      <pc:sldChg chg="del">
        <pc:chgData name="Andreea Bunduc" userId="f7ddd4c3-0921-4c29-878a-c006ec77d69b" providerId="ADAL" clId="{C877C75A-BC54-4265-90B4-AF9CBA9A80D4}" dt="2021-03-05T11:10:10.845" v="3258" actId="2696"/>
        <pc:sldMkLst>
          <pc:docMk/>
          <pc:sldMk cId="3003001123" sldId="2112"/>
        </pc:sldMkLst>
      </pc:sldChg>
      <pc:sldChg chg="add del addCm">
        <pc:chgData name="Andreea Bunduc" userId="f7ddd4c3-0921-4c29-878a-c006ec77d69b" providerId="ADAL" clId="{C877C75A-BC54-4265-90B4-AF9CBA9A80D4}" dt="2021-03-11T17:16:39.378" v="11328" actId="2696"/>
        <pc:sldMkLst>
          <pc:docMk/>
          <pc:sldMk cId="217996950" sldId="3092"/>
        </pc:sldMkLst>
      </pc:sldChg>
      <pc:sldChg chg="modSp del mod addCm">
        <pc:chgData name="Andreea Bunduc" userId="f7ddd4c3-0921-4c29-878a-c006ec77d69b" providerId="ADAL" clId="{C877C75A-BC54-4265-90B4-AF9CBA9A80D4}" dt="2021-03-11T17:11:57.934" v="11325" actId="2696"/>
        <pc:sldMkLst>
          <pc:docMk/>
          <pc:sldMk cId="1304563117" sldId="3093"/>
        </pc:sldMkLst>
        <pc:spChg chg="mod">
          <ac:chgData name="Andreea Bunduc" userId="f7ddd4c3-0921-4c29-878a-c006ec77d69b" providerId="ADAL" clId="{C877C75A-BC54-4265-90B4-AF9CBA9A80D4}" dt="2021-03-11T09:47:12.519" v="6552" actId="20577"/>
          <ac:spMkLst>
            <pc:docMk/>
            <pc:sldMk cId="1304563117" sldId="3093"/>
            <ac:spMk id="4" creationId="{7CE4786D-C856-4ED1-AD42-4D6D5704E74E}"/>
          </ac:spMkLst>
        </pc:spChg>
      </pc:sldChg>
      <pc:sldChg chg="modSp del mod modShow addCm modNotesTx">
        <pc:chgData name="Andreea Bunduc" userId="f7ddd4c3-0921-4c29-878a-c006ec77d69b" providerId="ADAL" clId="{C877C75A-BC54-4265-90B4-AF9CBA9A80D4}" dt="2021-03-19T10:33:08.674" v="15762" actId="2696"/>
        <pc:sldMkLst>
          <pc:docMk/>
          <pc:sldMk cId="2356428871" sldId="3131"/>
        </pc:sldMkLst>
        <pc:spChg chg="mod">
          <ac:chgData name="Andreea Bunduc" userId="f7ddd4c3-0921-4c29-878a-c006ec77d69b" providerId="ADAL" clId="{C877C75A-BC54-4265-90B4-AF9CBA9A80D4}" dt="2021-03-04T21:35:14.167" v="1749" actId="13926"/>
          <ac:spMkLst>
            <pc:docMk/>
            <pc:sldMk cId="2356428871" sldId="3131"/>
            <ac:spMk id="2" creationId="{45010FE8-BF09-4146-B084-66CB05B66FD9}"/>
          </ac:spMkLst>
        </pc:spChg>
        <pc:spChg chg="mod">
          <ac:chgData name="Andreea Bunduc" userId="f7ddd4c3-0921-4c29-878a-c006ec77d69b" providerId="ADAL" clId="{C877C75A-BC54-4265-90B4-AF9CBA9A80D4}" dt="2021-03-04T21:36:24.499" v="1877" actId="20577"/>
          <ac:spMkLst>
            <pc:docMk/>
            <pc:sldMk cId="2356428871" sldId="3131"/>
            <ac:spMk id="20" creationId="{9C4A0BF9-E23F-4CFA-BFB9-1923DF03340F}"/>
          </ac:spMkLst>
        </pc:spChg>
        <pc:spChg chg="mod">
          <ac:chgData name="Andreea Bunduc" userId="f7ddd4c3-0921-4c29-878a-c006ec77d69b" providerId="ADAL" clId="{C877C75A-BC54-4265-90B4-AF9CBA9A80D4}" dt="2021-03-04T21:37:08.035" v="1907" actId="20577"/>
          <ac:spMkLst>
            <pc:docMk/>
            <pc:sldMk cId="2356428871" sldId="3131"/>
            <ac:spMk id="26" creationId="{060B385F-DDAB-4620-9658-189E6CCEF254}"/>
          </ac:spMkLst>
        </pc:spChg>
        <pc:spChg chg="mod">
          <ac:chgData name="Andreea Bunduc" userId="f7ddd4c3-0921-4c29-878a-c006ec77d69b" providerId="ADAL" clId="{C877C75A-BC54-4265-90B4-AF9CBA9A80D4}" dt="2021-03-04T21:37:36.931" v="1940" actId="20577"/>
          <ac:spMkLst>
            <pc:docMk/>
            <pc:sldMk cId="2356428871" sldId="3131"/>
            <ac:spMk id="46" creationId="{423E3344-0D3E-40C6-A30D-D9146C16FFD2}"/>
          </ac:spMkLst>
        </pc:spChg>
        <pc:spChg chg="mod">
          <ac:chgData name="Andreea Bunduc" userId="f7ddd4c3-0921-4c29-878a-c006ec77d69b" providerId="ADAL" clId="{C877C75A-BC54-4265-90B4-AF9CBA9A80D4}" dt="2021-03-04T21:37:46.658" v="1944"/>
          <ac:spMkLst>
            <pc:docMk/>
            <pc:sldMk cId="2356428871" sldId="3131"/>
            <ac:spMk id="47" creationId="{3153E1ED-F3FC-47BC-86FF-ABC256FF54B7}"/>
          </ac:spMkLst>
        </pc:spChg>
      </pc:sldChg>
      <pc:sldChg chg="del ord">
        <pc:chgData name="Andreea Bunduc" userId="f7ddd4c3-0921-4c29-878a-c006ec77d69b" providerId="ADAL" clId="{C877C75A-BC54-4265-90B4-AF9CBA9A80D4}" dt="2021-03-19T10:57:37.988" v="15852" actId="18676"/>
        <pc:sldMkLst>
          <pc:docMk/>
          <pc:sldMk cId="998631707" sldId="3133"/>
        </pc:sldMkLst>
      </pc:sldChg>
      <pc:sldChg chg="addSp delSp modSp new mod addCm delCm modCm chgLayout">
        <pc:chgData name="Andreea Bunduc" userId="f7ddd4c3-0921-4c29-878a-c006ec77d69b" providerId="ADAL" clId="{C877C75A-BC54-4265-90B4-AF9CBA9A80D4}" dt="2021-03-19T10:13:08.235" v="15565"/>
        <pc:sldMkLst>
          <pc:docMk/>
          <pc:sldMk cId="853224919" sldId="3134"/>
        </pc:sldMkLst>
        <pc:spChg chg="del mod ord">
          <ac:chgData name="Andreea Bunduc" userId="f7ddd4c3-0921-4c29-878a-c006ec77d69b" providerId="ADAL" clId="{C877C75A-BC54-4265-90B4-AF9CBA9A80D4}" dt="2021-03-04T20:34:56.507" v="600" actId="700"/>
          <ac:spMkLst>
            <pc:docMk/>
            <pc:sldMk cId="853224919" sldId="3134"/>
            <ac:spMk id="2" creationId="{17C1B476-5343-472E-9586-A777537FAC82}"/>
          </ac:spMkLst>
        </pc:spChg>
        <pc:spChg chg="add mod ord">
          <ac:chgData name="Andreea Bunduc" userId="f7ddd4c3-0921-4c29-878a-c006ec77d69b" providerId="ADAL" clId="{C877C75A-BC54-4265-90B4-AF9CBA9A80D4}" dt="2021-03-04T20:35:20.852" v="629" actId="20577"/>
          <ac:spMkLst>
            <pc:docMk/>
            <pc:sldMk cId="853224919" sldId="3134"/>
            <ac:spMk id="3" creationId="{7BAA5C70-A028-4B6C-ABB0-6C80B40ABCDB}"/>
          </ac:spMkLst>
        </pc:spChg>
        <pc:picChg chg="add del">
          <ac:chgData name="Andreea Bunduc" userId="f7ddd4c3-0921-4c29-878a-c006ec77d69b" providerId="ADAL" clId="{C877C75A-BC54-4265-90B4-AF9CBA9A80D4}" dt="2021-03-08T08:52:02.781" v="3275"/>
          <ac:picMkLst>
            <pc:docMk/>
            <pc:sldMk cId="853224919" sldId="3134"/>
            <ac:picMk id="1026" creationId="{13802D65-F68D-4B25-B83F-105E99F08685}"/>
          </ac:picMkLst>
        </pc:picChg>
        <pc:picChg chg="add del">
          <ac:chgData name="Andreea Bunduc" userId="f7ddd4c3-0921-4c29-878a-c006ec77d69b" providerId="ADAL" clId="{C877C75A-BC54-4265-90B4-AF9CBA9A80D4}" dt="2021-03-08T08:52:06.472" v="3277"/>
          <ac:picMkLst>
            <pc:docMk/>
            <pc:sldMk cId="853224919" sldId="3134"/>
            <ac:picMk id="1028" creationId="{5AE8AEA7-26F2-4997-AD9E-F26981193C5C}"/>
          </ac:picMkLst>
        </pc:picChg>
        <pc:picChg chg="add del">
          <ac:chgData name="Andreea Bunduc" userId="f7ddd4c3-0921-4c29-878a-c006ec77d69b" providerId="ADAL" clId="{C877C75A-BC54-4265-90B4-AF9CBA9A80D4}" dt="2021-03-08T08:52:30.180" v="3279"/>
          <ac:picMkLst>
            <pc:docMk/>
            <pc:sldMk cId="853224919" sldId="3134"/>
            <ac:picMk id="1030" creationId="{970245D0-A9CF-4641-9FDC-78D1CB3EB00A}"/>
          </ac:picMkLst>
        </pc:picChg>
        <pc:picChg chg="add del">
          <ac:chgData name="Andreea Bunduc" userId="f7ddd4c3-0921-4c29-878a-c006ec77d69b" providerId="ADAL" clId="{C877C75A-BC54-4265-90B4-AF9CBA9A80D4}" dt="2021-03-08T08:52:44.009" v="3281"/>
          <ac:picMkLst>
            <pc:docMk/>
            <pc:sldMk cId="853224919" sldId="3134"/>
            <ac:picMk id="1032" creationId="{814E184D-3BCB-4495-A202-CEFCECF752F0}"/>
          </ac:picMkLst>
        </pc:picChg>
        <pc:picChg chg="add del">
          <ac:chgData name="Andreea Bunduc" userId="f7ddd4c3-0921-4c29-878a-c006ec77d69b" providerId="ADAL" clId="{C877C75A-BC54-4265-90B4-AF9CBA9A80D4}" dt="2021-03-08T08:53:22.755" v="3283" actId="478"/>
          <ac:picMkLst>
            <pc:docMk/>
            <pc:sldMk cId="853224919" sldId="3134"/>
            <ac:picMk id="1034" creationId="{660AB9CA-5F8A-4FF9-A0E1-E30632896478}"/>
          </ac:picMkLst>
        </pc:picChg>
      </pc:sldChg>
      <pc:sldChg chg="modSp add del mod ord">
        <pc:chgData name="Andreea Bunduc" userId="f7ddd4c3-0921-4c29-878a-c006ec77d69b" providerId="ADAL" clId="{C877C75A-BC54-4265-90B4-AF9CBA9A80D4}" dt="2021-03-04T21:41:59.964" v="1978" actId="47"/>
        <pc:sldMkLst>
          <pc:docMk/>
          <pc:sldMk cId="450245266" sldId="3135"/>
        </pc:sldMkLst>
        <pc:spChg chg="mod">
          <ac:chgData name="Andreea Bunduc" userId="f7ddd4c3-0921-4c29-878a-c006ec77d69b" providerId="ADAL" clId="{C877C75A-BC54-4265-90B4-AF9CBA9A80D4}" dt="2021-03-04T21:11:36.044" v="1123" actId="20577"/>
          <ac:spMkLst>
            <pc:docMk/>
            <pc:sldMk cId="450245266" sldId="3135"/>
            <ac:spMk id="3" creationId="{7BAA5C70-A028-4B6C-ABB0-6C80B40ABCDB}"/>
          </ac:spMkLst>
        </pc:spChg>
      </pc:sldChg>
      <pc:sldChg chg="modSp add del mod ord modNotesTx">
        <pc:chgData name="Andreea Bunduc" userId="f7ddd4c3-0921-4c29-878a-c006ec77d69b" providerId="ADAL" clId="{C877C75A-BC54-4265-90B4-AF9CBA9A80D4}" dt="2021-03-04T21:34:05.960" v="1630" actId="2696"/>
        <pc:sldMkLst>
          <pc:docMk/>
          <pc:sldMk cId="1424163012" sldId="3136"/>
        </pc:sldMkLst>
        <pc:spChg chg="mod">
          <ac:chgData name="Andreea Bunduc" userId="f7ddd4c3-0921-4c29-878a-c006ec77d69b" providerId="ADAL" clId="{C877C75A-BC54-4265-90B4-AF9CBA9A80D4}" dt="2021-03-04T21:13:28.824" v="1143" actId="20577"/>
          <ac:spMkLst>
            <pc:docMk/>
            <pc:sldMk cId="1424163012" sldId="3136"/>
            <ac:spMk id="2" creationId="{45010FE8-BF09-4146-B084-66CB05B66FD9}"/>
          </ac:spMkLst>
        </pc:spChg>
        <pc:spChg chg="mod">
          <ac:chgData name="Andreea Bunduc" userId="f7ddd4c3-0921-4c29-878a-c006ec77d69b" providerId="ADAL" clId="{C877C75A-BC54-4265-90B4-AF9CBA9A80D4}" dt="2021-03-04T21:23:04.163" v="1386" actId="20577"/>
          <ac:spMkLst>
            <pc:docMk/>
            <pc:sldMk cId="1424163012" sldId="3136"/>
            <ac:spMk id="11" creationId="{76583F2C-13BC-4FA8-A9DE-F1F764C38F10}"/>
          </ac:spMkLst>
        </pc:spChg>
      </pc:sldChg>
      <pc:sldChg chg="addSp delSp modSp add del mod ord modTransition addCm delCm modNotesTx">
        <pc:chgData name="Andreea Bunduc" userId="f7ddd4c3-0921-4c29-878a-c006ec77d69b" providerId="ADAL" clId="{C877C75A-BC54-4265-90B4-AF9CBA9A80D4}" dt="2021-03-19T10:17:18.941" v="15570" actId="13926"/>
        <pc:sldMkLst>
          <pc:docMk/>
          <pc:sldMk cId="3744392427" sldId="3137"/>
        </pc:sldMkLst>
        <pc:spChg chg="mod">
          <ac:chgData name="Andreea Bunduc" userId="f7ddd4c3-0921-4c29-878a-c006ec77d69b" providerId="ADAL" clId="{C877C75A-BC54-4265-90B4-AF9CBA9A80D4}" dt="2021-03-04T21:43:04.561" v="2032"/>
          <ac:spMkLst>
            <pc:docMk/>
            <pc:sldMk cId="3744392427" sldId="3137"/>
            <ac:spMk id="10" creationId="{B3CF464F-0524-4713-93EF-C7E5C14B7582}"/>
          </ac:spMkLst>
        </pc:spChg>
        <pc:spChg chg="mod topLvl">
          <ac:chgData name="Andreea Bunduc" userId="f7ddd4c3-0921-4c29-878a-c006ec77d69b" providerId="ADAL" clId="{C877C75A-BC54-4265-90B4-AF9CBA9A80D4}" dt="2021-03-04T21:44:33.874" v="2040" actId="478"/>
          <ac:spMkLst>
            <pc:docMk/>
            <pc:sldMk cId="3744392427" sldId="3137"/>
            <ac:spMk id="11" creationId="{76583F2C-13BC-4FA8-A9DE-F1F764C38F10}"/>
          </ac:spMkLst>
        </pc:spChg>
        <pc:spChg chg="del topLvl">
          <ac:chgData name="Andreea Bunduc" userId="f7ddd4c3-0921-4c29-878a-c006ec77d69b" providerId="ADAL" clId="{C877C75A-BC54-4265-90B4-AF9CBA9A80D4}" dt="2021-03-04T21:44:33.874" v="2040" actId="478"/>
          <ac:spMkLst>
            <pc:docMk/>
            <pc:sldMk cId="3744392427" sldId="3137"/>
            <ac:spMk id="13" creationId="{C369B4C5-09E2-40E1-809B-F38D97F29A2B}"/>
          </ac:spMkLst>
        </pc:spChg>
        <pc:spChg chg="del">
          <ac:chgData name="Andreea Bunduc" userId="f7ddd4c3-0921-4c29-878a-c006ec77d69b" providerId="ADAL" clId="{C877C75A-BC54-4265-90B4-AF9CBA9A80D4}" dt="2021-03-04T21:44:28.967" v="2039" actId="478"/>
          <ac:spMkLst>
            <pc:docMk/>
            <pc:sldMk cId="3744392427" sldId="3137"/>
            <ac:spMk id="14" creationId="{286F9C08-402C-4326-B8B7-33CDA61176F0}"/>
          </ac:spMkLst>
        </pc:spChg>
        <pc:spChg chg="mod">
          <ac:chgData name="Andreea Bunduc" userId="f7ddd4c3-0921-4c29-878a-c006ec77d69b" providerId="ADAL" clId="{C877C75A-BC54-4265-90B4-AF9CBA9A80D4}" dt="2021-03-11T10:00:36.870" v="6579" actId="20577"/>
          <ac:spMkLst>
            <pc:docMk/>
            <pc:sldMk cId="3744392427" sldId="3137"/>
            <ac:spMk id="15" creationId="{BDD64BFD-7ED9-4476-ABC3-6BBAC4A275B2}"/>
          </ac:spMkLst>
        </pc:spChg>
        <pc:spChg chg="mod">
          <ac:chgData name="Andreea Bunduc" userId="f7ddd4c3-0921-4c29-878a-c006ec77d69b" providerId="ADAL" clId="{C877C75A-BC54-4265-90B4-AF9CBA9A80D4}" dt="2021-03-04T21:43:04.561" v="2032"/>
          <ac:spMkLst>
            <pc:docMk/>
            <pc:sldMk cId="3744392427" sldId="3137"/>
            <ac:spMk id="17" creationId="{7569FD1D-D55B-448A-8096-31F7C541A5A8}"/>
          </ac:spMkLst>
        </pc:spChg>
        <pc:spChg chg="mod">
          <ac:chgData name="Andreea Bunduc" userId="f7ddd4c3-0921-4c29-878a-c006ec77d69b" providerId="ADAL" clId="{C877C75A-BC54-4265-90B4-AF9CBA9A80D4}" dt="2021-03-04T21:43:04.561" v="2032"/>
          <ac:spMkLst>
            <pc:docMk/>
            <pc:sldMk cId="3744392427" sldId="3137"/>
            <ac:spMk id="18" creationId="{B5239564-BFF5-4996-972D-2B35C6252575}"/>
          </ac:spMkLst>
        </pc:spChg>
        <pc:spChg chg="mod">
          <ac:chgData name="Andreea Bunduc" userId="f7ddd4c3-0921-4c29-878a-c006ec77d69b" providerId="ADAL" clId="{C877C75A-BC54-4265-90B4-AF9CBA9A80D4}" dt="2021-03-19T10:17:18.941" v="15570" actId="13926"/>
          <ac:spMkLst>
            <pc:docMk/>
            <pc:sldMk cId="3744392427" sldId="3137"/>
            <ac:spMk id="20" creationId="{3EBF0E00-3491-407A-B77E-C8A241BBCFB3}"/>
          </ac:spMkLst>
        </pc:spChg>
        <pc:spChg chg="mod">
          <ac:chgData name="Andreea Bunduc" userId="f7ddd4c3-0921-4c29-878a-c006ec77d69b" providerId="ADAL" clId="{C877C75A-BC54-4265-90B4-AF9CBA9A80D4}" dt="2021-03-04T21:44:10.584" v="2036"/>
          <ac:spMkLst>
            <pc:docMk/>
            <pc:sldMk cId="3744392427" sldId="3137"/>
            <ac:spMk id="22" creationId="{5D3138EE-3B8E-4C03-BE9C-1A99127A3535}"/>
          </ac:spMkLst>
        </pc:spChg>
        <pc:spChg chg="mod">
          <ac:chgData name="Andreea Bunduc" userId="f7ddd4c3-0921-4c29-878a-c006ec77d69b" providerId="ADAL" clId="{C877C75A-BC54-4265-90B4-AF9CBA9A80D4}" dt="2021-03-04T21:44:10.584" v="2036"/>
          <ac:spMkLst>
            <pc:docMk/>
            <pc:sldMk cId="3744392427" sldId="3137"/>
            <ac:spMk id="23" creationId="{E560C7A7-08F3-43EE-8ADF-2EEC0C32824F}"/>
          </ac:spMkLst>
        </pc:spChg>
        <pc:grpChg chg="del">
          <ac:chgData name="Andreea Bunduc" userId="f7ddd4c3-0921-4c29-878a-c006ec77d69b" providerId="ADAL" clId="{C877C75A-BC54-4265-90B4-AF9CBA9A80D4}" dt="2021-03-04T21:44:33.874" v="2040" actId="478"/>
          <ac:grpSpMkLst>
            <pc:docMk/>
            <pc:sldMk cId="3744392427" sldId="3137"/>
            <ac:grpSpMk id="3" creationId="{7D0EBBCF-0C7C-4CEF-B825-B08E20F51AA5}"/>
          </ac:grpSpMkLst>
        </pc:grpChg>
        <pc:grpChg chg="add del mod">
          <ac:chgData name="Andreea Bunduc" userId="f7ddd4c3-0921-4c29-878a-c006ec77d69b" providerId="ADAL" clId="{C877C75A-BC54-4265-90B4-AF9CBA9A80D4}" dt="2021-03-04T21:43:05.826" v="2033"/>
          <ac:grpSpMkLst>
            <pc:docMk/>
            <pc:sldMk cId="3744392427" sldId="3137"/>
            <ac:grpSpMk id="9" creationId="{7521A42E-CEF2-4574-9CF7-7DC717C57161}"/>
          </ac:grpSpMkLst>
        </pc:grpChg>
        <pc:grpChg chg="del">
          <ac:chgData name="Andreea Bunduc" userId="f7ddd4c3-0921-4c29-878a-c006ec77d69b" providerId="ADAL" clId="{C877C75A-BC54-4265-90B4-AF9CBA9A80D4}" dt="2021-03-04T21:44:28.967" v="2039" actId="478"/>
          <ac:grpSpMkLst>
            <pc:docMk/>
            <pc:sldMk cId="3744392427" sldId="3137"/>
            <ac:grpSpMk id="12" creationId="{E724E342-E48E-4907-9072-289559104C52}"/>
          </ac:grpSpMkLst>
        </pc:grpChg>
        <pc:grpChg chg="mod">
          <ac:chgData name="Andreea Bunduc" userId="f7ddd4c3-0921-4c29-878a-c006ec77d69b" providerId="ADAL" clId="{C877C75A-BC54-4265-90B4-AF9CBA9A80D4}" dt="2021-03-04T21:43:04.561" v="2032"/>
          <ac:grpSpMkLst>
            <pc:docMk/>
            <pc:sldMk cId="3744392427" sldId="3137"/>
            <ac:grpSpMk id="16" creationId="{89684550-5990-4651-936C-B94350135AF3}"/>
          </ac:grpSpMkLst>
        </pc:grpChg>
        <pc:grpChg chg="add mod ord">
          <ac:chgData name="Andreea Bunduc" userId="f7ddd4c3-0921-4c29-878a-c006ec77d69b" providerId="ADAL" clId="{C877C75A-BC54-4265-90B4-AF9CBA9A80D4}" dt="2021-03-04T21:44:25.537" v="2038" actId="167"/>
          <ac:grpSpMkLst>
            <pc:docMk/>
            <pc:sldMk cId="3744392427" sldId="3137"/>
            <ac:grpSpMk id="19" creationId="{3CE197C9-C9E2-4F5F-AA4A-1C38A7B2030B}"/>
          </ac:grpSpMkLst>
        </pc:grpChg>
        <pc:grpChg chg="mod">
          <ac:chgData name="Andreea Bunduc" userId="f7ddd4c3-0921-4c29-878a-c006ec77d69b" providerId="ADAL" clId="{C877C75A-BC54-4265-90B4-AF9CBA9A80D4}" dt="2021-03-04T21:44:10.584" v="2036"/>
          <ac:grpSpMkLst>
            <pc:docMk/>
            <pc:sldMk cId="3744392427" sldId="3137"/>
            <ac:grpSpMk id="21" creationId="{58108533-E0E9-4DC6-8671-5866A3000BF2}"/>
          </ac:grpSpMkLst>
        </pc:grpChg>
      </pc:sldChg>
      <pc:sldChg chg="modSp add del mod">
        <pc:chgData name="Andreea Bunduc" userId="f7ddd4c3-0921-4c29-878a-c006ec77d69b" providerId="ADAL" clId="{C877C75A-BC54-4265-90B4-AF9CBA9A80D4}" dt="2021-03-04T21:34:09.618" v="1631" actId="2696"/>
        <pc:sldMkLst>
          <pc:docMk/>
          <pc:sldMk cId="274667109" sldId="3138"/>
        </pc:sldMkLst>
        <pc:spChg chg="mod">
          <ac:chgData name="Andreea Bunduc" userId="f7ddd4c3-0921-4c29-878a-c006ec77d69b" providerId="ADAL" clId="{C877C75A-BC54-4265-90B4-AF9CBA9A80D4}" dt="2021-03-04T21:28:59.771" v="1421" actId="20577"/>
          <ac:spMkLst>
            <pc:docMk/>
            <pc:sldMk cId="274667109" sldId="3138"/>
            <ac:spMk id="11" creationId="{76583F2C-13BC-4FA8-A9DE-F1F764C38F10}"/>
          </ac:spMkLst>
        </pc:spChg>
      </pc:sldChg>
      <pc:sldChg chg="new del">
        <pc:chgData name="Andreea Bunduc" userId="f7ddd4c3-0921-4c29-878a-c006ec77d69b" providerId="ADAL" clId="{C877C75A-BC54-4265-90B4-AF9CBA9A80D4}" dt="2021-03-04T21:24:43.370" v="1390" actId="47"/>
        <pc:sldMkLst>
          <pc:docMk/>
          <pc:sldMk cId="3865643611" sldId="3138"/>
        </pc:sldMkLst>
      </pc:sldChg>
      <pc:sldChg chg="modSp add mod ord">
        <pc:chgData name="Andreea Bunduc" userId="f7ddd4c3-0921-4c29-878a-c006ec77d69b" providerId="ADAL" clId="{C877C75A-BC54-4265-90B4-AF9CBA9A80D4}" dt="2021-03-04T21:32:25.732" v="1492" actId="20577"/>
        <pc:sldMkLst>
          <pc:docMk/>
          <pc:sldMk cId="3491997491" sldId="3139"/>
        </pc:sldMkLst>
        <pc:spChg chg="mod">
          <ac:chgData name="Andreea Bunduc" userId="f7ddd4c3-0921-4c29-878a-c006ec77d69b" providerId="ADAL" clId="{C877C75A-BC54-4265-90B4-AF9CBA9A80D4}" dt="2021-03-04T21:32:25.732" v="1492" actId="20577"/>
          <ac:spMkLst>
            <pc:docMk/>
            <pc:sldMk cId="3491997491" sldId="3139"/>
            <ac:spMk id="3" creationId="{7BAA5C70-A028-4B6C-ABB0-6C80B40ABCDB}"/>
          </ac:spMkLst>
        </pc:spChg>
      </pc:sldChg>
      <pc:sldChg chg="add del">
        <pc:chgData name="Andreea Bunduc" userId="f7ddd4c3-0921-4c29-878a-c006ec77d69b" providerId="ADAL" clId="{C877C75A-BC54-4265-90B4-AF9CBA9A80D4}" dt="2021-03-19T10:57:37.988" v="15852" actId="18676"/>
        <pc:sldMkLst>
          <pc:docMk/>
          <pc:sldMk cId="3689678182" sldId="3140"/>
        </pc:sldMkLst>
      </pc:sldChg>
      <pc:sldChg chg="add del">
        <pc:chgData name="Andreea Bunduc" userId="f7ddd4c3-0921-4c29-878a-c006ec77d69b" providerId="ADAL" clId="{C877C75A-BC54-4265-90B4-AF9CBA9A80D4}" dt="2021-03-19T10:57:37.988" v="15852" actId="18676"/>
        <pc:sldMkLst>
          <pc:docMk/>
          <pc:sldMk cId="11279166" sldId="3141"/>
        </pc:sldMkLst>
      </pc:sldChg>
      <pc:sldChg chg="modSp add del mod ord">
        <pc:chgData name="Andreea Bunduc" userId="f7ddd4c3-0921-4c29-878a-c006ec77d69b" providerId="ADAL" clId="{C877C75A-BC54-4265-90B4-AF9CBA9A80D4}" dt="2021-03-04T21:42:05.738" v="1979" actId="47"/>
        <pc:sldMkLst>
          <pc:docMk/>
          <pc:sldMk cId="708048392" sldId="3142"/>
        </pc:sldMkLst>
        <pc:spChg chg="mod">
          <ac:chgData name="Andreea Bunduc" userId="f7ddd4c3-0921-4c29-878a-c006ec77d69b" providerId="ADAL" clId="{C877C75A-BC54-4265-90B4-AF9CBA9A80D4}" dt="2021-03-04T21:41:45.640" v="1977" actId="20577"/>
          <ac:spMkLst>
            <pc:docMk/>
            <pc:sldMk cId="708048392" sldId="3142"/>
            <ac:spMk id="3" creationId="{7BAA5C70-A028-4B6C-ABB0-6C80B40ABCDB}"/>
          </ac:spMkLst>
        </pc:spChg>
      </pc:sldChg>
      <pc:sldChg chg="addSp delSp modSp add mod ord modNotesTx">
        <pc:chgData name="Andreea Bunduc" userId="f7ddd4c3-0921-4c29-878a-c006ec77d69b" providerId="ADAL" clId="{C877C75A-BC54-4265-90B4-AF9CBA9A80D4}" dt="2021-03-19T10:29:55.403" v="15744" actId="20577"/>
        <pc:sldMkLst>
          <pc:docMk/>
          <pc:sldMk cId="1478783221" sldId="3142"/>
        </pc:sldMkLst>
        <pc:spChg chg="mod">
          <ac:chgData name="Andreea Bunduc" userId="f7ddd4c3-0921-4c29-878a-c006ec77d69b" providerId="ADAL" clId="{C877C75A-BC54-4265-90B4-AF9CBA9A80D4}" dt="2021-03-05T10:59:31.488" v="3256" actId="20577"/>
          <ac:spMkLst>
            <pc:docMk/>
            <pc:sldMk cId="1478783221" sldId="3142"/>
            <ac:spMk id="2" creationId="{45010FE8-BF09-4146-B084-66CB05B66FD9}"/>
          </ac:spMkLst>
        </pc:spChg>
        <pc:spChg chg="mod">
          <ac:chgData name="Andreea Bunduc" userId="f7ddd4c3-0921-4c29-878a-c006ec77d69b" providerId="ADAL" clId="{C877C75A-BC54-4265-90B4-AF9CBA9A80D4}" dt="2021-03-19T10:26:36.119" v="15650" actId="13926"/>
          <ac:spMkLst>
            <pc:docMk/>
            <pc:sldMk cId="1478783221" sldId="3142"/>
            <ac:spMk id="10" creationId="{53EC6F74-4994-4365-BF20-3ACC76EB7EDA}"/>
          </ac:spMkLst>
        </pc:spChg>
        <pc:spChg chg="topLvl">
          <ac:chgData name="Andreea Bunduc" userId="f7ddd4c3-0921-4c29-878a-c006ec77d69b" providerId="ADAL" clId="{C877C75A-BC54-4265-90B4-AF9CBA9A80D4}" dt="2021-03-04T21:45:49.901" v="2075" actId="478"/>
          <ac:spMkLst>
            <pc:docMk/>
            <pc:sldMk cId="1478783221" sldId="3142"/>
            <ac:spMk id="11" creationId="{76583F2C-13BC-4FA8-A9DE-F1F764C38F10}"/>
          </ac:spMkLst>
        </pc:spChg>
        <pc:spChg chg="del topLvl">
          <ac:chgData name="Andreea Bunduc" userId="f7ddd4c3-0921-4c29-878a-c006ec77d69b" providerId="ADAL" clId="{C877C75A-BC54-4265-90B4-AF9CBA9A80D4}" dt="2021-03-04T21:45:49.901" v="2075" actId="478"/>
          <ac:spMkLst>
            <pc:docMk/>
            <pc:sldMk cId="1478783221" sldId="3142"/>
            <ac:spMk id="13" creationId="{C369B4C5-09E2-40E1-809B-F38D97F29A2B}"/>
          </ac:spMkLst>
        </pc:spChg>
        <pc:spChg chg="del">
          <ac:chgData name="Andreea Bunduc" userId="f7ddd4c3-0921-4c29-878a-c006ec77d69b" providerId="ADAL" clId="{C877C75A-BC54-4265-90B4-AF9CBA9A80D4}" dt="2021-03-04T21:45:47.924" v="2074" actId="478"/>
          <ac:spMkLst>
            <pc:docMk/>
            <pc:sldMk cId="1478783221" sldId="3142"/>
            <ac:spMk id="14" creationId="{286F9C08-402C-4326-B8B7-33CDA61176F0}"/>
          </ac:spMkLst>
        </pc:spChg>
        <pc:spChg chg="mod">
          <ac:chgData name="Andreea Bunduc" userId="f7ddd4c3-0921-4c29-878a-c006ec77d69b" providerId="ADAL" clId="{C877C75A-BC54-4265-90B4-AF9CBA9A80D4}" dt="2021-03-16T11:51:16.880" v="11908"/>
          <ac:spMkLst>
            <pc:docMk/>
            <pc:sldMk cId="1478783221" sldId="3142"/>
            <ac:spMk id="15" creationId="{BDD64BFD-7ED9-4476-ABC3-6BBAC4A275B2}"/>
          </ac:spMkLst>
        </pc:spChg>
        <pc:spChg chg="mod">
          <ac:chgData name="Andreea Bunduc" userId="f7ddd4c3-0921-4c29-878a-c006ec77d69b" providerId="ADAL" clId="{C877C75A-BC54-4265-90B4-AF9CBA9A80D4}" dt="2021-03-04T21:45:31.429" v="2071"/>
          <ac:spMkLst>
            <pc:docMk/>
            <pc:sldMk cId="1478783221" sldId="3142"/>
            <ac:spMk id="17" creationId="{687318F3-DB52-4AD6-A5BB-CA7C4EF40830}"/>
          </ac:spMkLst>
        </pc:spChg>
        <pc:spChg chg="mod">
          <ac:chgData name="Andreea Bunduc" userId="f7ddd4c3-0921-4c29-878a-c006ec77d69b" providerId="ADAL" clId="{C877C75A-BC54-4265-90B4-AF9CBA9A80D4}" dt="2021-03-04T21:45:31.429" v="2071"/>
          <ac:spMkLst>
            <pc:docMk/>
            <pc:sldMk cId="1478783221" sldId="3142"/>
            <ac:spMk id="18" creationId="{56EE8CD9-07FB-4E3A-A281-F9F13737F5DD}"/>
          </ac:spMkLst>
        </pc:spChg>
        <pc:grpChg chg="add del">
          <ac:chgData name="Andreea Bunduc" userId="f7ddd4c3-0921-4c29-878a-c006ec77d69b" providerId="ADAL" clId="{C877C75A-BC54-4265-90B4-AF9CBA9A80D4}" dt="2021-03-04T21:45:49.901" v="2075" actId="478"/>
          <ac:grpSpMkLst>
            <pc:docMk/>
            <pc:sldMk cId="1478783221" sldId="3142"/>
            <ac:grpSpMk id="3" creationId="{7D0EBBCF-0C7C-4CEF-B825-B08E20F51AA5}"/>
          </ac:grpSpMkLst>
        </pc:grpChg>
        <pc:grpChg chg="add mod ord">
          <ac:chgData name="Andreea Bunduc" userId="f7ddd4c3-0921-4c29-878a-c006ec77d69b" providerId="ADAL" clId="{C877C75A-BC54-4265-90B4-AF9CBA9A80D4}" dt="2021-03-04T21:45:43.579" v="2073" actId="167"/>
          <ac:grpSpMkLst>
            <pc:docMk/>
            <pc:sldMk cId="1478783221" sldId="3142"/>
            <ac:grpSpMk id="9" creationId="{5B595404-6FC4-4ECC-B99B-F47FB04E6DB3}"/>
          </ac:grpSpMkLst>
        </pc:grpChg>
        <pc:grpChg chg="del">
          <ac:chgData name="Andreea Bunduc" userId="f7ddd4c3-0921-4c29-878a-c006ec77d69b" providerId="ADAL" clId="{C877C75A-BC54-4265-90B4-AF9CBA9A80D4}" dt="2021-03-04T21:45:47.924" v="2074" actId="478"/>
          <ac:grpSpMkLst>
            <pc:docMk/>
            <pc:sldMk cId="1478783221" sldId="3142"/>
            <ac:grpSpMk id="12" creationId="{E724E342-E48E-4907-9072-289559104C52}"/>
          </ac:grpSpMkLst>
        </pc:grpChg>
        <pc:grpChg chg="mod">
          <ac:chgData name="Andreea Bunduc" userId="f7ddd4c3-0921-4c29-878a-c006ec77d69b" providerId="ADAL" clId="{C877C75A-BC54-4265-90B4-AF9CBA9A80D4}" dt="2021-03-04T21:45:31.429" v="2071"/>
          <ac:grpSpMkLst>
            <pc:docMk/>
            <pc:sldMk cId="1478783221" sldId="3142"/>
            <ac:grpSpMk id="16" creationId="{E1449417-CA8C-4ECF-AE6E-2A0CC814C783}"/>
          </ac:grpSpMkLst>
        </pc:grpChg>
      </pc:sldChg>
      <pc:sldChg chg="modSp add mod ord modTransition modNotesTx">
        <pc:chgData name="Andreea Bunduc" userId="f7ddd4c3-0921-4c29-878a-c006ec77d69b" providerId="ADAL" clId="{C877C75A-BC54-4265-90B4-AF9CBA9A80D4}" dt="2021-03-19T10:39:12.991" v="15773" actId="20577"/>
        <pc:sldMkLst>
          <pc:docMk/>
          <pc:sldMk cId="69220512" sldId="3143"/>
        </pc:sldMkLst>
        <pc:spChg chg="mod">
          <ac:chgData name="Andreea Bunduc" userId="f7ddd4c3-0921-4c29-878a-c006ec77d69b" providerId="ADAL" clId="{C877C75A-BC54-4265-90B4-AF9CBA9A80D4}" dt="2021-03-04T21:58:05.136" v="2410" actId="20577"/>
          <ac:spMkLst>
            <pc:docMk/>
            <pc:sldMk cId="69220512" sldId="3143"/>
            <ac:spMk id="2" creationId="{45010FE8-BF09-4146-B084-66CB05B66FD9}"/>
          </ac:spMkLst>
        </pc:spChg>
        <pc:spChg chg="mod">
          <ac:chgData name="Andreea Bunduc" userId="f7ddd4c3-0921-4c29-878a-c006ec77d69b" providerId="ADAL" clId="{C877C75A-BC54-4265-90B4-AF9CBA9A80D4}" dt="2021-03-19T10:33:16.266" v="15763" actId="13926"/>
          <ac:spMkLst>
            <pc:docMk/>
            <pc:sldMk cId="69220512" sldId="3143"/>
            <ac:spMk id="10" creationId="{53EC6F74-4994-4365-BF20-3ACC76EB7EDA}"/>
          </ac:spMkLst>
        </pc:spChg>
        <pc:spChg chg="mod">
          <ac:chgData name="Andreea Bunduc" userId="f7ddd4c3-0921-4c29-878a-c006ec77d69b" providerId="ADAL" clId="{C877C75A-BC54-4265-90B4-AF9CBA9A80D4}" dt="2021-03-16T13:51:18.512" v="14117"/>
          <ac:spMkLst>
            <pc:docMk/>
            <pc:sldMk cId="69220512" sldId="3143"/>
            <ac:spMk id="15" creationId="{BDD64BFD-7ED9-4476-ABC3-6BBAC4A275B2}"/>
          </ac:spMkLst>
        </pc:spChg>
      </pc:sldChg>
      <pc:sldChg chg="modSp add del mod ord addCm">
        <pc:chgData name="Andreea Bunduc" userId="f7ddd4c3-0921-4c29-878a-c006ec77d69b" providerId="ADAL" clId="{C877C75A-BC54-4265-90B4-AF9CBA9A80D4}" dt="2021-03-19T10:46:19.821" v="15787" actId="2696"/>
        <pc:sldMkLst>
          <pc:docMk/>
          <pc:sldMk cId="3958190650" sldId="3144"/>
        </pc:sldMkLst>
        <pc:spChg chg="mod">
          <ac:chgData name="Andreea Bunduc" userId="f7ddd4c3-0921-4c29-878a-c006ec77d69b" providerId="ADAL" clId="{C877C75A-BC54-4265-90B4-AF9CBA9A80D4}" dt="2021-03-04T22:03:20.369" v="2806" actId="20577"/>
          <ac:spMkLst>
            <pc:docMk/>
            <pc:sldMk cId="3958190650" sldId="3144"/>
            <ac:spMk id="3" creationId="{7BAA5C70-A028-4B6C-ABB0-6C80B40ABCDB}"/>
          </ac:spMkLst>
        </pc:spChg>
      </pc:sldChg>
      <pc:sldChg chg="modSp add del mod ord modNotesTx">
        <pc:chgData name="Andreea Bunduc" userId="f7ddd4c3-0921-4c29-878a-c006ec77d69b" providerId="ADAL" clId="{C877C75A-BC54-4265-90B4-AF9CBA9A80D4}" dt="2021-03-19T10:46:23.004" v="15788" actId="2696"/>
        <pc:sldMkLst>
          <pc:docMk/>
          <pc:sldMk cId="191795645" sldId="3145"/>
        </pc:sldMkLst>
        <pc:spChg chg="mod">
          <ac:chgData name="Andreea Bunduc" userId="f7ddd4c3-0921-4c29-878a-c006ec77d69b" providerId="ADAL" clId="{C877C75A-BC54-4265-90B4-AF9CBA9A80D4}" dt="2021-03-04T22:08:26.613" v="2845" actId="20577"/>
          <ac:spMkLst>
            <pc:docMk/>
            <pc:sldMk cId="191795645" sldId="3145"/>
            <ac:spMk id="2" creationId="{45010FE8-BF09-4146-B084-66CB05B66FD9}"/>
          </ac:spMkLst>
        </pc:spChg>
        <pc:spChg chg="mod">
          <ac:chgData name="Andreea Bunduc" userId="f7ddd4c3-0921-4c29-878a-c006ec77d69b" providerId="ADAL" clId="{C877C75A-BC54-4265-90B4-AF9CBA9A80D4}" dt="2021-03-04T22:08:30.084" v="2848" actId="20577"/>
          <ac:spMkLst>
            <pc:docMk/>
            <pc:sldMk cId="191795645" sldId="3145"/>
            <ac:spMk id="10" creationId="{53EC6F74-4994-4365-BF20-3ACC76EB7EDA}"/>
          </ac:spMkLst>
        </pc:spChg>
      </pc:sldChg>
      <pc:sldChg chg="modSp add mod ord">
        <pc:chgData name="Andreea Bunduc" userId="f7ddd4c3-0921-4c29-878a-c006ec77d69b" providerId="ADAL" clId="{C877C75A-BC54-4265-90B4-AF9CBA9A80D4}" dt="2021-03-04T22:13:00.409" v="2875"/>
        <pc:sldMkLst>
          <pc:docMk/>
          <pc:sldMk cId="2568543086" sldId="3146"/>
        </pc:sldMkLst>
        <pc:spChg chg="mod">
          <ac:chgData name="Andreea Bunduc" userId="f7ddd4c3-0921-4c29-878a-c006ec77d69b" providerId="ADAL" clId="{C877C75A-BC54-4265-90B4-AF9CBA9A80D4}" dt="2021-03-04T22:12:21.267" v="2865" actId="20577"/>
          <ac:spMkLst>
            <pc:docMk/>
            <pc:sldMk cId="2568543086" sldId="3146"/>
            <ac:spMk id="3" creationId="{7BAA5C70-A028-4B6C-ABB0-6C80B40ABCDB}"/>
          </ac:spMkLst>
        </pc:spChg>
      </pc:sldChg>
      <pc:sldChg chg="modSp add mod ord">
        <pc:chgData name="Andreea Bunduc" userId="f7ddd4c3-0921-4c29-878a-c006ec77d69b" providerId="ADAL" clId="{C877C75A-BC54-4265-90B4-AF9CBA9A80D4}" dt="2021-03-08T08:21:26.588" v="3262" actId="20577"/>
        <pc:sldMkLst>
          <pc:docMk/>
          <pc:sldMk cId="3619178042" sldId="3147"/>
        </pc:sldMkLst>
        <pc:spChg chg="mod">
          <ac:chgData name="Andreea Bunduc" userId="f7ddd4c3-0921-4c29-878a-c006ec77d69b" providerId="ADAL" clId="{C877C75A-BC54-4265-90B4-AF9CBA9A80D4}" dt="2021-03-08T08:21:26.588" v="3262" actId="20577"/>
          <ac:spMkLst>
            <pc:docMk/>
            <pc:sldMk cId="3619178042" sldId="3147"/>
            <ac:spMk id="3" creationId="{7BAA5C70-A028-4B6C-ABB0-6C80B40ABCDB}"/>
          </ac:spMkLst>
        </pc:spChg>
      </pc:sldChg>
      <pc:sldChg chg="modSp add mod ord modTransition modNotesTx">
        <pc:chgData name="Andreea Bunduc" userId="f7ddd4c3-0921-4c29-878a-c006ec77d69b" providerId="ADAL" clId="{C877C75A-BC54-4265-90B4-AF9CBA9A80D4}" dt="2021-03-19T10:46:51.792" v="15792" actId="20577"/>
        <pc:sldMkLst>
          <pc:docMk/>
          <pc:sldMk cId="3779075657" sldId="3148"/>
        </pc:sldMkLst>
        <pc:spChg chg="mod">
          <ac:chgData name="Andreea Bunduc" userId="f7ddd4c3-0921-4c29-878a-c006ec77d69b" providerId="ADAL" clId="{C877C75A-BC54-4265-90B4-AF9CBA9A80D4}" dt="2021-03-04T22:15:32.804" v="3073" actId="20577"/>
          <ac:spMkLst>
            <pc:docMk/>
            <pc:sldMk cId="3779075657" sldId="3148"/>
            <ac:spMk id="2" creationId="{45010FE8-BF09-4146-B084-66CB05B66FD9}"/>
          </ac:spMkLst>
        </pc:spChg>
        <pc:spChg chg="mod">
          <ac:chgData name="Andreea Bunduc" userId="f7ddd4c3-0921-4c29-878a-c006ec77d69b" providerId="ADAL" clId="{C877C75A-BC54-4265-90B4-AF9CBA9A80D4}" dt="2021-03-19T10:46:37.828" v="15790" actId="13926"/>
          <ac:spMkLst>
            <pc:docMk/>
            <pc:sldMk cId="3779075657" sldId="3148"/>
            <ac:spMk id="10" creationId="{53EC6F74-4994-4365-BF20-3ACC76EB7EDA}"/>
          </ac:spMkLst>
        </pc:spChg>
        <pc:spChg chg="mod">
          <ac:chgData name="Andreea Bunduc" userId="f7ddd4c3-0921-4c29-878a-c006ec77d69b" providerId="ADAL" clId="{C877C75A-BC54-4265-90B4-AF9CBA9A80D4}" dt="2021-03-16T13:51:42.188" v="14121"/>
          <ac:spMkLst>
            <pc:docMk/>
            <pc:sldMk cId="3779075657" sldId="3148"/>
            <ac:spMk id="15" creationId="{BDD64BFD-7ED9-4476-ABC3-6BBAC4A275B2}"/>
          </ac:spMkLst>
        </pc:spChg>
      </pc:sldChg>
      <pc:sldChg chg="modSp add del mod">
        <pc:chgData name="Andreea Bunduc" userId="f7ddd4c3-0921-4c29-878a-c006ec77d69b" providerId="ADAL" clId="{C877C75A-BC54-4265-90B4-AF9CBA9A80D4}" dt="2021-03-11T17:07:19.478" v="11236" actId="2696"/>
        <pc:sldMkLst>
          <pc:docMk/>
          <pc:sldMk cId="286903400" sldId="3149"/>
        </pc:sldMkLst>
        <pc:spChg chg="mod">
          <ac:chgData name="Andreea Bunduc" userId="f7ddd4c3-0921-4c29-878a-c006ec77d69b" providerId="ADAL" clId="{C877C75A-BC54-4265-90B4-AF9CBA9A80D4}" dt="2021-03-04T22:17:46.866" v="3202" actId="20577"/>
          <ac:spMkLst>
            <pc:docMk/>
            <pc:sldMk cId="286903400" sldId="3149"/>
            <ac:spMk id="2" creationId="{45010FE8-BF09-4146-B084-66CB05B66FD9}"/>
          </ac:spMkLst>
        </pc:spChg>
        <pc:spChg chg="mod">
          <ac:chgData name="Andreea Bunduc" userId="f7ddd4c3-0921-4c29-878a-c006ec77d69b" providerId="ADAL" clId="{C877C75A-BC54-4265-90B4-AF9CBA9A80D4}" dt="2021-03-11T17:06:40.504" v="11207" actId="20577"/>
          <ac:spMkLst>
            <pc:docMk/>
            <pc:sldMk cId="286903400" sldId="3149"/>
            <ac:spMk id="10" creationId="{53EC6F74-4994-4365-BF20-3ACC76EB7EDA}"/>
          </ac:spMkLst>
        </pc:spChg>
      </pc:sldChg>
      <pc:sldChg chg="new del">
        <pc:chgData name="Andreea Bunduc" userId="f7ddd4c3-0921-4c29-878a-c006ec77d69b" providerId="ADAL" clId="{C877C75A-BC54-4265-90B4-AF9CBA9A80D4}" dt="2021-03-04T22:17:40.998" v="3194" actId="47"/>
        <pc:sldMkLst>
          <pc:docMk/>
          <pc:sldMk cId="3787857114" sldId="3149"/>
        </pc:sldMkLst>
      </pc:sldChg>
      <pc:sldChg chg="addSp delSp modSp add mod delCm chgLayout">
        <pc:chgData name="Andreea Bunduc" userId="f7ddd4c3-0921-4c29-878a-c006ec77d69b" providerId="ADAL" clId="{C877C75A-BC54-4265-90B4-AF9CBA9A80D4}" dt="2021-03-11T09:44:21.265" v="6528"/>
        <pc:sldMkLst>
          <pc:docMk/>
          <pc:sldMk cId="95491136" sldId="3150"/>
        </pc:sldMkLst>
        <pc:spChg chg="mod ord">
          <ac:chgData name="Andreea Bunduc" userId="f7ddd4c3-0921-4c29-878a-c006ec77d69b" providerId="ADAL" clId="{C877C75A-BC54-4265-90B4-AF9CBA9A80D4}" dt="2021-03-04T22:21:21.918" v="3208" actId="700"/>
          <ac:spMkLst>
            <pc:docMk/>
            <pc:sldMk cId="95491136" sldId="3150"/>
            <ac:spMk id="4" creationId="{91E1388E-A56A-4206-914E-EF0361A049FD}"/>
          </ac:spMkLst>
        </pc:spChg>
        <pc:spChg chg="mod ord">
          <ac:chgData name="Andreea Bunduc" userId="f7ddd4c3-0921-4c29-878a-c006ec77d69b" providerId="ADAL" clId="{C877C75A-BC54-4265-90B4-AF9CBA9A80D4}" dt="2021-03-04T22:21:21.918" v="3208" actId="700"/>
          <ac:spMkLst>
            <pc:docMk/>
            <pc:sldMk cId="95491136" sldId="3150"/>
            <ac:spMk id="5" creationId="{9D8EA170-F704-4ACA-9DBE-BD3AD12AC8E0}"/>
          </ac:spMkLst>
        </pc:spChg>
        <pc:picChg chg="add mod">
          <ac:chgData name="Andreea Bunduc" userId="f7ddd4c3-0921-4c29-878a-c006ec77d69b" providerId="ADAL" clId="{C877C75A-BC54-4265-90B4-AF9CBA9A80D4}" dt="2021-03-04T22:23:06.296" v="3216" actId="1076"/>
          <ac:picMkLst>
            <pc:docMk/>
            <pc:sldMk cId="95491136" sldId="3150"/>
            <ac:picMk id="7" creationId="{B4BDE2EB-46EE-1D4C-ACC6-469F3C5178D2}"/>
          </ac:picMkLst>
        </pc:picChg>
        <pc:picChg chg="add del">
          <ac:chgData name="Andreea Bunduc" userId="f7ddd4c3-0921-4c29-878a-c006ec77d69b" providerId="ADAL" clId="{C877C75A-BC54-4265-90B4-AF9CBA9A80D4}" dt="2021-03-09T14:36:40.206" v="6130" actId="478"/>
          <ac:picMkLst>
            <pc:docMk/>
            <pc:sldMk cId="95491136" sldId="3150"/>
            <ac:picMk id="8" creationId="{7AD92DA9-5BA7-4E94-A05B-B424FB0DA08F}"/>
          </ac:picMkLst>
        </pc:picChg>
        <pc:picChg chg="add mod">
          <ac:chgData name="Andreea Bunduc" userId="f7ddd4c3-0921-4c29-878a-c006ec77d69b" providerId="ADAL" clId="{C877C75A-BC54-4265-90B4-AF9CBA9A80D4}" dt="2021-03-09T14:36:44.521" v="6132" actId="1076"/>
          <ac:picMkLst>
            <pc:docMk/>
            <pc:sldMk cId="95491136" sldId="3150"/>
            <ac:picMk id="9" creationId="{B4BDE2EB-46EE-1D4C-ACC6-469F3C5178D2}"/>
          </ac:picMkLst>
        </pc:picChg>
      </pc:sldChg>
      <pc:sldChg chg="addSp delSp modSp new del mod modTransition chgLayout">
        <pc:chgData name="Andreea Bunduc" userId="f7ddd4c3-0921-4c29-878a-c006ec77d69b" providerId="ADAL" clId="{C877C75A-BC54-4265-90B4-AF9CBA9A80D4}" dt="2021-03-04T22:21:47.272" v="3214" actId="2696"/>
        <pc:sldMkLst>
          <pc:docMk/>
          <pc:sldMk cId="1915604889" sldId="3151"/>
        </pc:sldMkLst>
        <pc:spChg chg="del mod ord">
          <ac:chgData name="Andreea Bunduc" userId="f7ddd4c3-0921-4c29-878a-c006ec77d69b" providerId="ADAL" clId="{C877C75A-BC54-4265-90B4-AF9CBA9A80D4}" dt="2021-03-04T22:21:34.765" v="3210" actId="700"/>
          <ac:spMkLst>
            <pc:docMk/>
            <pc:sldMk cId="1915604889" sldId="3151"/>
            <ac:spMk id="2" creationId="{7A7A93AA-7A9F-4574-8B9C-2031FDF2B494}"/>
          </ac:spMkLst>
        </pc:spChg>
        <pc:spChg chg="del mod ord">
          <ac:chgData name="Andreea Bunduc" userId="f7ddd4c3-0921-4c29-878a-c006ec77d69b" providerId="ADAL" clId="{C877C75A-BC54-4265-90B4-AF9CBA9A80D4}" dt="2021-03-04T22:21:34.765" v="3210" actId="700"/>
          <ac:spMkLst>
            <pc:docMk/>
            <pc:sldMk cId="1915604889" sldId="3151"/>
            <ac:spMk id="3" creationId="{26B60183-6FDA-4A9A-AA38-044726FBACF7}"/>
          </ac:spMkLst>
        </pc:spChg>
        <pc:spChg chg="add del mod ord">
          <ac:chgData name="Andreea Bunduc" userId="f7ddd4c3-0921-4c29-878a-c006ec77d69b" providerId="ADAL" clId="{C877C75A-BC54-4265-90B4-AF9CBA9A80D4}" dt="2021-03-04T22:21:42.262" v="3213" actId="26606"/>
          <ac:spMkLst>
            <pc:docMk/>
            <pc:sldMk cId="1915604889" sldId="3151"/>
            <ac:spMk id="4" creationId="{0BB1D96E-4BC4-443E-8C3A-DEE32CE29029}"/>
          </ac:spMkLst>
        </pc:spChg>
        <pc:spChg chg="add del mod ord">
          <ac:chgData name="Andreea Bunduc" userId="f7ddd4c3-0921-4c29-878a-c006ec77d69b" providerId="ADAL" clId="{C877C75A-BC54-4265-90B4-AF9CBA9A80D4}" dt="2021-03-04T22:21:42.262" v="3213" actId="26606"/>
          <ac:spMkLst>
            <pc:docMk/>
            <pc:sldMk cId="1915604889" sldId="3151"/>
            <ac:spMk id="5" creationId="{106FDD6E-6B2B-45FB-8C15-03790B1DA51A}"/>
          </ac:spMkLst>
        </pc:spChg>
        <pc:spChg chg="add del mod">
          <ac:chgData name="Andreea Bunduc" userId="f7ddd4c3-0921-4c29-878a-c006ec77d69b" providerId="ADAL" clId="{C877C75A-BC54-4265-90B4-AF9CBA9A80D4}" dt="2021-03-04T22:21:42.254" v="3212" actId="26606"/>
          <ac:spMkLst>
            <pc:docMk/>
            <pc:sldMk cId="1915604889" sldId="3151"/>
            <ac:spMk id="10" creationId="{82817171-B0EA-40CC-868F-0938B0C65DE6}"/>
          </ac:spMkLst>
        </pc:spChg>
        <pc:spChg chg="add del mod">
          <ac:chgData name="Andreea Bunduc" userId="f7ddd4c3-0921-4c29-878a-c006ec77d69b" providerId="ADAL" clId="{C877C75A-BC54-4265-90B4-AF9CBA9A80D4}" dt="2021-03-04T22:21:42.254" v="3212" actId="26606"/>
          <ac:spMkLst>
            <pc:docMk/>
            <pc:sldMk cId="1915604889" sldId="3151"/>
            <ac:spMk id="12" creationId="{F3739B90-F503-4B58-898F-8F8D041005CF}"/>
          </ac:spMkLst>
        </pc:spChg>
        <pc:spChg chg="add mod">
          <ac:chgData name="Andreea Bunduc" userId="f7ddd4c3-0921-4c29-878a-c006ec77d69b" providerId="ADAL" clId="{C877C75A-BC54-4265-90B4-AF9CBA9A80D4}" dt="2021-03-04T22:21:42.262" v="3213" actId="26606"/>
          <ac:spMkLst>
            <pc:docMk/>
            <pc:sldMk cId="1915604889" sldId="3151"/>
            <ac:spMk id="14" creationId="{98FBF0EA-207F-40C7-9806-AEE81C24F07C}"/>
          </ac:spMkLst>
        </pc:spChg>
        <pc:spChg chg="add mod">
          <ac:chgData name="Andreea Bunduc" userId="f7ddd4c3-0921-4c29-878a-c006ec77d69b" providerId="ADAL" clId="{C877C75A-BC54-4265-90B4-AF9CBA9A80D4}" dt="2021-03-04T22:21:42.262" v="3213" actId="26606"/>
          <ac:spMkLst>
            <pc:docMk/>
            <pc:sldMk cId="1915604889" sldId="3151"/>
            <ac:spMk id="15" creationId="{6840234B-01BC-4C93-B8A0-E02BA0548E72}"/>
          </ac:spMkLst>
        </pc:spChg>
      </pc:sldChg>
      <pc:sldChg chg="modSp add mod ord modNotesTx">
        <pc:chgData name="Andreea Bunduc" userId="f7ddd4c3-0921-4c29-878a-c006ec77d69b" providerId="ADAL" clId="{C877C75A-BC54-4265-90B4-AF9CBA9A80D4}" dt="2021-03-09T15:06:11.116" v="6527"/>
        <pc:sldMkLst>
          <pc:docMk/>
          <pc:sldMk cId="2542816568" sldId="3151"/>
        </pc:sldMkLst>
        <pc:spChg chg="mod">
          <ac:chgData name="Andreea Bunduc" userId="f7ddd4c3-0921-4c29-878a-c006ec77d69b" providerId="ADAL" clId="{C877C75A-BC54-4265-90B4-AF9CBA9A80D4}" dt="2021-03-05T10:55:38.833" v="3232" actId="20577"/>
          <ac:spMkLst>
            <pc:docMk/>
            <pc:sldMk cId="2542816568" sldId="3151"/>
            <ac:spMk id="3" creationId="{7BAA5C70-A028-4B6C-ABB0-6C80B40ABCDB}"/>
          </ac:spMkLst>
        </pc:spChg>
      </pc:sldChg>
      <pc:sldChg chg="modSp add mod ord">
        <pc:chgData name="Andreea Bunduc" userId="f7ddd4c3-0921-4c29-878a-c006ec77d69b" providerId="ADAL" clId="{C877C75A-BC54-4265-90B4-AF9CBA9A80D4}" dt="2021-03-05T10:59:27.376" v="3254" actId="20577"/>
        <pc:sldMkLst>
          <pc:docMk/>
          <pc:sldMk cId="3796850160" sldId="3152"/>
        </pc:sldMkLst>
        <pc:spChg chg="mod">
          <ac:chgData name="Andreea Bunduc" userId="f7ddd4c3-0921-4c29-878a-c006ec77d69b" providerId="ADAL" clId="{C877C75A-BC54-4265-90B4-AF9CBA9A80D4}" dt="2021-03-05T10:59:27.376" v="3254" actId="20577"/>
          <ac:spMkLst>
            <pc:docMk/>
            <pc:sldMk cId="3796850160" sldId="3152"/>
            <ac:spMk id="3" creationId="{7BAA5C70-A028-4B6C-ABB0-6C80B40ABCDB}"/>
          </ac:spMkLst>
        </pc:spChg>
      </pc:sldChg>
      <pc:sldChg chg="modSp add mod ord">
        <pc:chgData name="Andreea Bunduc" userId="f7ddd4c3-0921-4c29-878a-c006ec77d69b" providerId="ADAL" clId="{C877C75A-BC54-4265-90B4-AF9CBA9A80D4}" dt="2021-03-08T08:46:27.007" v="3273" actId="20577"/>
        <pc:sldMkLst>
          <pc:docMk/>
          <pc:sldMk cId="150373361" sldId="3153"/>
        </pc:sldMkLst>
        <pc:spChg chg="mod">
          <ac:chgData name="Andreea Bunduc" userId="f7ddd4c3-0921-4c29-878a-c006ec77d69b" providerId="ADAL" clId="{C877C75A-BC54-4265-90B4-AF9CBA9A80D4}" dt="2021-03-08T08:46:27.007" v="3273" actId="20577"/>
          <ac:spMkLst>
            <pc:docMk/>
            <pc:sldMk cId="150373361" sldId="3153"/>
            <ac:spMk id="3" creationId="{7BAA5C70-A028-4B6C-ABB0-6C80B40ABCDB}"/>
          </ac:spMkLst>
        </pc:spChg>
      </pc:sldChg>
      <pc:sldChg chg="addSp delSp new del">
        <pc:chgData name="Andreea Bunduc" userId="f7ddd4c3-0921-4c29-878a-c006ec77d69b" providerId="ADAL" clId="{C877C75A-BC54-4265-90B4-AF9CBA9A80D4}" dt="2021-03-08T09:03:09.871" v="3287" actId="47"/>
        <pc:sldMkLst>
          <pc:docMk/>
          <pc:sldMk cId="3003048846" sldId="3154"/>
        </pc:sldMkLst>
        <pc:picChg chg="add del">
          <ac:chgData name="Andreea Bunduc" userId="f7ddd4c3-0921-4c29-878a-c006ec77d69b" providerId="ADAL" clId="{C877C75A-BC54-4265-90B4-AF9CBA9A80D4}" dt="2021-03-08T08:54:24.862" v="3286"/>
          <ac:picMkLst>
            <pc:docMk/>
            <pc:sldMk cId="3003048846" sldId="3154"/>
            <ac:picMk id="2050" creationId="{57D2F3C6-660B-4F07-B0C2-34334CEFFCA8}"/>
          </ac:picMkLst>
        </pc:picChg>
      </pc:sldChg>
      <pc:sldChg chg="delSp modSp add mod modNotesTx">
        <pc:chgData name="Andreea Bunduc" userId="f7ddd4c3-0921-4c29-878a-c006ec77d69b" providerId="ADAL" clId="{C877C75A-BC54-4265-90B4-AF9CBA9A80D4}" dt="2021-03-22T11:01:59.062" v="15944" actId="20577"/>
        <pc:sldMkLst>
          <pc:docMk/>
          <pc:sldMk cId="443274503" sldId="2076137454"/>
        </pc:sldMkLst>
        <pc:spChg chg="mod">
          <ac:chgData name="Andreea Bunduc" userId="f7ddd4c3-0921-4c29-878a-c006ec77d69b" providerId="ADAL" clId="{C877C75A-BC54-4265-90B4-AF9CBA9A80D4}" dt="2021-03-08T10:08:31.008" v="3567" actId="1035"/>
          <ac:spMkLst>
            <pc:docMk/>
            <pc:sldMk cId="443274503" sldId="2076137454"/>
            <ac:spMk id="2" creationId="{21ADFDC3-6C45-490B-9750-C46223783913}"/>
          </ac:spMkLst>
        </pc:spChg>
        <pc:spChg chg="mod">
          <ac:chgData name="Andreea Bunduc" userId="f7ddd4c3-0921-4c29-878a-c006ec77d69b" providerId="ADAL" clId="{C877C75A-BC54-4265-90B4-AF9CBA9A80D4}" dt="2021-03-08T09:03:31.341" v="3300" actId="20577"/>
          <ac:spMkLst>
            <pc:docMk/>
            <pc:sldMk cId="443274503" sldId="2076137454"/>
            <ac:spMk id="45" creationId="{3832BAB3-1A2F-45E7-966D-82C9B1D3D369}"/>
          </ac:spMkLst>
        </pc:spChg>
        <pc:spChg chg="mod">
          <ac:chgData name="Andreea Bunduc" userId="f7ddd4c3-0921-4c29-878a-c006ec77d69b" providerId="ADAL" clId="{C877C75A-BC54-4265-90B4-AF9CBA9A80D4}" dt="2021-03-08T10:08:31.008" v="3567" actId="1035"/>
          <ac:spMkLst>
            <pc:docMk/>
            <pc:sldMk cId="443274503" sldId="2076137454"/>
            <ac:spMk id="47" creationId="{813F16CC-F241-4710-AF42-2BE4FF1797D7}"/>
          </ac:spMkLst>
        </pc:spChg>
        <pc:spChg chg="mod">
          <ac:chgData name="Andreea Bunduc" userId="f7ddd4c3-0921-4c29-878a-c006ec77d69b" providerId="ADAL" clId="{C877C75A-BC54-4265-90B4-AF9CBA9A80D4}" dt="2021-03-08T10:08:31.008" v="3567" actId="1035"/>
          <ac:spMkLst>
            <pc:docMk/>
            <pc:sldMk cId="443274503" sldId="2076137454"/>
            <ac:spMk id="48" creationId="{DD0C728C-3F50-4151-8EEA-7C51126552D4}"/>
          </ac:spMkLst>
        </pc:spChg>
        <pc:spChg chg="mod">
          <ac:chgData name="Andreea Bunduc" userId="f7ddd4c3-0921-4c29-878a-c006ec77d69b" providerId="ADAL" clId="{C877C75A-BC54-4265-90B4-AF9CBA9A80D4}" dt="2021-03-08T10:08:31.008" v="3567" actId="1035"/>
          <ac:spMkLst>
            <pc:docMk/>
            <pc:sldMk cId="443274503" sldId="2076137454"/>
            <ac:spMk id="49" creationId="{4755F7C6-DAFB-4697-AFD1-086F08FBE6AB}"/>
          </ac:spMkLst>
        </pc:spChg>
        <pc:spChg chg="mod">
          <ac:chgData name="Andreea Bunduc" userId="f7ddd4c3-0921-4c29-878a-c006ec77d69b" providerId="ADAL" clId="{C877C75A-BC54-4265-90B4-AF9CBA9A80D4}" dt="2021-03-08T10:08:31.008" v="3567" actId="1035"/>
          <ac:spMkLst>
            <pc:docMk/>
            <pc:sldMk cId="443274503" sldId="2076137454"/>
            <ac:spMk id="50" creationId="{F1A44D04-8977-4730-A65C-D21ABFD62606}"/>
          </ac:spMkLst>
        </pc:spChg>
        <pc:spChg chg="mod">
          <ac:chgData name="Andreea Bunduc" userId="f7ddd4c3-0921-4c29-878a-c006ec77d69b" providerId="ADAL" clId="{C877C75A-BC54-4265-90B4-AF9CBA9A80D4}" dt="2021-03-08T10:08:31.008" v="3567" actId="1035"/>
          <ac:spMkLst>
            <pc:docMk/>
            <pc:sldMk cId="443274503" sldId="2076137454"/>
            <ac:spMk id="53" creationId="{B281E38B-4178-4BDB-9381-71DB5894BC30}"/>
          </ac:spMkLst>
        </pc:spChg>
        <pc:spChg chg="mod">
          <ac:chgData name="Andreea Bunduc" userId="f7ddd4c3-0921-4c29-878a-c006ec77d69b" providerId="ADAL" clId="{C877C75A-BC54-4265-90B4-AF9CBA9A80D4}" dt="2021-03-08T10:08:31.008" v="3567" actId="1035"/>
          <ac:spMkLst>
            <pc:docMk/>
            <pc:sldMk cId="443274503" sldId="2076137454"/>
            <ac:spMk id="54" creationId="{C954AA4D-66E2-495A-84DE-ABE68AAEBCDA}"/>
          </ac:spMkLst>
        </pc:spChg>
        <pc:spChg chg="mod">
          <ac:chgData name="Andreea Bunduc" userId="f7ddd4c3-0921-4c29-878a-c006ec77d69b" providerId="ADAL" clId="{C877C75A-BC54-4265-90B4-AF9CBA9A80D4}" dt="2021-03-08T10:08:31.008" v="3567" actId="1035"/>
          <ac:spMkLst>
            <pc:docMk/>
            <pc:sldMk cId="443274503" sldId="2076137454"/>
            <ac:spMk id="242" creationId="{141E25DA-BF13-4E14-B8B4-D056FAE1DF57}"/>
          </ac:spMkLst>
        </pc:spChg>
        <pc:spChg chg="mod">
          <ac:chgData name="Andreea Bunduc" userId="f7ddd4c3-0921-4c29-878a-c006ec77d69b" providerId="ADAL" clId="{C877C75A-BC54-4265-90B4-AF9CBA9A80D4}" dt="2021-03-08T10:08:31.008" v="3567" actId="1035"/>
          <ac:spMkLst>
            <pc:docMk/>
            <pc:sldMk cId="443274503" sldId="2076137454"/>
            <ac:spMk id="244" creationId="{5CA0D38E-6B1A-4862-8B66-85C8AB285B84}"/>
          </ac:spMkLst>
        </pc:spChg>
        <pc:spChg chg="mod">
          <ac:chgData name="Andreea Bunduc" userId="f7ddd4c3-0921-4c29-878a-c006ec77d69b" providerId="ADAL" clId="{C877C75A-BC54-4265-90B4-AF9CBA9A80D4}" dt="2021-03-08T10:08:31.008" v="3567" actId="1035"/>
          <ac:spMkLst>
            <pc:docMk/>
            <pc:sldMk cId="443274503" sldId="2076137454"/>
            <ac:spMk id="291" creationId="{0B12335E-C347-466F-873E-3444B2DC6131}"/>
          </ac:spMkLst>
        </pc:spChg>
        <pc:spChg chg="mod">
          <ac:chgData name="Andreea Bunduc" userId="f7ddd4c3-0921-4c29-878a-c006ec77d69b" providerId="ADAL" clId="{C877C75A-BC54-4265-90B4-AF9CBA9A80D4}" dt="2021-03-08T10:08:31.008" v="3567" actId="1035"/>
          <ac:spMkLst>
            <pc:docMk/>
            <pc:sldMk cId="443274503" sldId="2076137454"/>
            <ac:spMk id="595" creationId="{308A59E6-E9AC-4AE4-8D89-1FB4E045F1A2}"/>
          </ac:spMkLst>
        </pc:spChg>
        <pc:spChg chg="mod">
          <ac:chgData name="Andreea Bunduc" userId="f7ddd4c3-0921-4c29-878a-c006ec77d69b" providerId="ADAL" clId="{C877C75A-BC54-4265-90B4-AF9CBA9A80D4}" dt="2021-03-08T10:08:31.008" v="3567" actId="1035"/>
          <ac:spMkLst>
            <pc:docMk/>
            <pc:sldMk cId="443274503" sldId="2076137454"/>
            <ac:spMk id="596" creationId="{28218260-BFC6-4958-BD4A-DF664B1C7267}"/>
          </ac:spMkLst>
        </pc:spChg>
        <pc:spChg chg="mod">
          <ac:chgData name="Andreea Bunduc" userId="f7ddd4c3-0921-4c29-878a-c006ec77d69b" providerId="ADAL" clId="{C877C75A-BC54-4265-90B4-AF9CBA9A80D4}" dt="2021-03-08T10:08:31.008" v="3567" actId="1035"/>
          <ac:spMkLst>
            <pc:docMk/>
            <pc:sldMk cId="443274503" sldId="2076137454"/>
            <ac:spMk id="598" creationId="{04E382E5-A984-4894-BA79-B15BB2378FD7}"/>
          </ac:spMkLst>
        </pc:spChg>
        <pc:spChg chg="mod">
          <ac:chgData name="Andreea Bunduc" userId="f7ddd4c3-0921-4c29-878a-c006ec77d69b" providerId="ADAL" clId="{C877C75A-BC54-4265-90B4-AF9CBA9A80D4}" dt="2021-03-08T10:08:31.008" v="3567" actId="1035"/>
          <ac:spMkLst>
            <pc:docMk/>
            <pc:sldMk cId="443274503" sldId="2076137454"/>
            <ac:spMk id="645" creationId="{09EF5189-5B3E-4551-B927-7AE0A9C0A256}"/>
          </ac:spMkLst>
        </pc:spChg>
        <pc:spChg chg="mod">
          <ac:chgData name="Andreea Bunduc" userId="f7ddd4c3-0921-4c29-878a-c006ec77d69b" providerId="ADAL" clId="{C877C75A-BC54-4265-90B4-AF9CBA9A80D4}" dt="2021-03-08T10:08:31.008" v="3567" actId="1035"/>
          <ac:spMkLst>
            <pc:docMk/>
            <pc:sldMk cId="443274503" sldId="2076137454"/>
            <ac:spMk id="646" creationId="{BF74510C-DFC2-4BB0-AE36-CD91241108D6}"/>
          </ac:spMkLst>
        </pc:spChg>
        <pc:spChg chg="mod">
          <ac:chgData name="Andreea Bunduc" userId="f7ddd4c3-0921-4c29-878a-c006ec77d69b" providerId="ADAL" clId="{C877C75A-BC54-4265-90B4-AF9CBA9A80D4}" dt="2021-03-08T10:08:31.008" v="3567" actId="1035"/>
          <ac:spMkLst>
            <pc:docMk/>
            <pc:sldMk cId="443274503" sldId="2076137454"/>
            <ac:spMk id="647" creationId="{2660ED9A-FB57-4856-B7D2-2AAC0F49D5B9}"/>
          </ac:spMkLst>
        </pc:spChg>
        <pc:spChg chg="mod">
          <ac:chgData name="Andreea Bunduc" userId="f7ddd4c3-0921-4c29-878a-c006ec77d69b" providerId="ADAL" clId="{C877C75A-BC54-4265-90B4-AF9CBA9A80D4}" dt="2021-03-08T10:08:31.008" v="3567" actId="1035"/>
          <ac:spMkLst>
            <pc:docMk/>
            <pc:sldMk cId="443274503" sldId="2076137454"/>
            <ac:spMk id="649" creationId="{0666BAFC-A28C-4AF2-82F3-9DF928C191A5}"/>
          </ac:spMkLst>
        </pc:spChg>
        <pc:spChg chg="mod">
          <ac:chgData name="Andreea Bunduc" userId="f7ddd4c3-0921-4c29-878a-c006ec77d69b" providerId="ADAL" clId="{C877C75A-BC54-4265-90B4-AF9CBA9A80D4}" dt="2021-03-08T10:08:31.008" v="3567" actId="1035"/>
          <ac:spMkLst>
            <pc:docMk/>
            <pc:sldMk cId="443274503" sldId="2076137454"/>
            <ac:spMk id="696" creationId="{CA4BBE5A-A183-4635-A2CC-C527703A3C3B}"/>
          </ac:spMkLst>
        </pc:spChg>
        <pc:spChg chg="mod">
          <ac:chgData name="Andreea Bunduc" userId="f7ddd4c3-0921-4c29-878a-c006ec77d69b" providerId="ADAL" clId="{C877C75A-BC54-4265-90B4-AF9CBA9A80D4}" dt="2021-03-08T10:08:31.008" v="3567" actId="1035"/>
          <ac:spMkLst>
            <pc:docMk/>
            <pc:sldMk cId="443274503" sldId="2076137454"/>
            <ac:spMk id="697" creationId="{931897DA-9F1E-4460-A14F-2B0883A9549C}"/>
          </ac:spMkLst>
        </pc:spChg>
        <pc:spChg chg="mod">
          <ac:chgData name="Andreea Bunduc" userId="f7ddd4c3-0921-4c29-878a-c006ec77d69b" providerId="ADAL" clId="{C877C75A-BC54-4265-90B4-AF9CBA9A80D4}" dt="2021-03-08T10:08:31.008" v="3567" actId="1035"/>
          <ac:spMkLst>
            <pc:docMk/>
            <pc:sldMk cId="443274503" sldId="2076137454"/>
            <ac:spMk id="698" creationId="{73CF9636-6060-43DD-A11D-2EC0DB14A3F5}"/>
          </ac:spMkLst>
        </pc:spChg>
        <pc:spChg chg="mod">
          <ac:chgData name="Andreea Bunduc" userId="f7ddd4c3-0921-4c29-878a-c006ec77d69b" providerId="ADAL" clId="{C877C75A-BC54-4265-90B4-AF9CBA9A80D4}" dt="2021-03-08T10:08:31.008" v="3567" actId="1035"/>
          <ac:spMkLst>
            <pc:docMk/>
            <pc:sldMk cId="443274503" sldId="2076137454"/>
            <ac:spMk id="700" creationId="{94B3512D-16D9-4F07-8504-F3966A4AF22E}"/>
          </ac:spMkLst>
        </pc:spChg>
        <pc:spChg chg="mod">
          <ac:chgData name="Andreea Bunduc" userId="f7ddd4c3-0921-4c29-878a-c006ec77d69b" providerId="ADAL" clId="{C877C75A-BC54-4265-90B4-AF9CBA9A80D4}" dt="2021-03-08T10:08:31.008" v="3567" actId="1035"/>
          <ac:spMkLst>
            <pc:docMk/>
            <pc:sldMk cId="443274503" sldId="2076137454"/>
            <ac:spMk id="747" creationId="{8949C4D1-3E70-4563-87C9-5066F65B585B}"/>
          </ac:spMkLst>
        </pc:spChg>
        <pc:spChg chg="mod">
          <ac:chgData name="Andreea Bunduc" userId="f7ddd4c3-0921-4c29-878a-c006ec77d69b" providerId="ADAL" clId="{C877C75A-BC54-4265-90B4-AF9CBA9A80D4}" dt="2021-03-08T10:08:31.008" v="3567" actId="1035"/>
          <ac:spMkLst>
            <pc:docMk/>
            <pc:sldMk cId="443274503" sldId="2076137454"/>
            <ac:spMk id="748" creationId="{FBD010F5-2DDC-4EB0-9040-23759AEB29F2}"/>
          </ac:spMkLst>
        </pc:spChg>
        <pc:spChg chg="mod">
          <ac:chgData name="Andreea Bunduc" userId="f7ddd4c3-0921-4c29-878a-c006ec77d69b" providerId="ADAL" clId="{C877C75A-BC54-4265-90B4-AF9CBA9A80D4}" dt="2021-03-08T10:08:31.008" v="3567" actId="1035"/>
          <ac:spMkLst>
            <pc:docMk/>
            <pc:sldMk cId="443274503" sldId="2076137454"/>
            <ac:spMk id="749" creationId="{F683932E-A6B8-4CD1-9A6D-AA71DD9210BC}"/>
          </ac:spMkLst>
        </pc:spChg>
        <pc:spChg chg="mod">
          <ac:chgData name="Andreea Bunduc" userId="f7ddd4c3-0921-4c29-878a-c006ec77d69b" providerId="ADAL" clId="{C877C75A-BC54-4265-90B4-AF9CBA9A80D4}" dt="2021-03-08T10:08:31.008" v="3567" actId="1035"/>
          <ac:spMkLst>
            <pc:docMk/>
            <pc:sldMk cId="443274503" sldId="2076137454"/>
            <ac:spMk id="751" creationId="{278D2F63-D319-4B3C-B021-E75B4A5A6373}"/>
          </ac:spMkLst>
        </pc:spChg>
        <pc:spChg chg="mod">
          <ac:chgData name="Andreea Bunduc" userId="f7ddd4c3-0921-4c29-878a-c006ec77d69b" providerId="ADAL" clId="{C877C75A-BC54-4265-90B4-AF9CBA9A80D4}" dt="2021-03-08T10:08:31.008" v="3567" actId="1035"/>
          <ac:spMkLst>
            <pc:docMk/>
            <pc:sldMk cId="443274503" sldId="2076137454"/>
            <ac:spMk id="798" creationId="{1C2C2909-D3EE-4A4C-87C2-52473DC54D87}"/>
          </ac:spMkLst>
        </pc:spChg>
        <pc:spChg chg="mod">
          <ac:chgData name="Andreea Bunduc" userId="f7ddd4c3-0921-4c29-878a-c006ec77d69b" providerId="ADAL" clId="{C877C75A-BC54-4265-90B4-AF9CBA9A80D4}" dt="2021-03-08T10:08:31.008" v="3567" actId="1035"/>
          <ac:spMkLst>
            <pc:docMk/>
            <pc:sldMk cId="443274503" sldId="2076137454"/>
            <ac:spMk id="799" creationId="{B026CB9E-5BD0-4A24-B721-2EB18FD91BEF}"/>
          </ac:spMkLst>
        </pc:spChg>
        <pc:spChg chg="mod">
          <ac:chgData name="Andreea Bunduc" userId="f7ddd4c3-0921-4c29-878a-c006ec77d69b" providerId="ADAL" clId="{C877C75A-BC54-4265-90B4-AF9CBA9A80D4}" dt="2021-03-08T10:08:31.008" v="3567" actId="1035"/>
          <ac:spMkLst>
            <pc:docMk/>
            <pc:sldMk cId="443274503" sldId="2076137454"/>
            <ac:spMk id="800" creationId="{3E6095DC-61CD-4758-A3FB-08E00603DD2F}"/>
          </ac:spMkLst>
        </pc:spChg>
        <pc:spChg chg="mod">
          <ac:chgData name="Andreea Bunduc" userId="f7ddd4c3-0921-4c29-878a-c006ec77d69b" providerId="ADAL" clId="{C877C75A-BC54-4265-90B4-AF9CBA9A80D4}" dt="2021-03-08T10:08:31.008" v="3567" actId="1035"/>
          <ac:spMkLst>
            <pc:docMk/>
            <pc:sldMk cId="443274503" sldId="2076137454"/>
            <ac:spMk id="802" creationId="{14E34193-9709-4718-A68B-164A0905A649}"/>
          </ac:spMkLst>
        </pc:spChg>
        <pc:graphicFrameChg chg="del mod">
          <ac:chgData name="Andreea Bunduc" userId="f7ddd4c3-0921-4c29-878a-c006ec77d69b" providerId="ADAL" clId="{C877C75A-BC54-4265-90B4-AF9CBA9A80D4}" dt="2021-03-08T09:04:00.860" v="3306" actId="478"/>
          <ac:graphicFrameMkLst>
            <pc:docMk/>
            <pc:sldMk cId="443274503" sldId="2076137454"/>
            <ac:graphicFrameMk id="3" creationId="{FDEC7ACE-975F-4937-8702-F5F97E158526}"/>
          </ac:graphicFrameMkLst>
        </pc:graphicFrameChg>
        <pc:picChg chg="mod">
          <ac:chgData name="Andreea Bunduc" userId="f7ddd4c3-0921-4c29-878a-c006ec77d69b" providerId="ADAL" clId="{C877C75A-BC54-4265-90B4-AF9CBA9A80D4}" dt="2021-03-08T10:08:31.008" v="3567" actId="1035"/>
          <ac:picMkLst>
            <pc:docMk/>
            <pc:sldMk cId="443274503" sldId="2076137454"/>
            <ac:picMk id="52" creationId="{1B7C7111-E301-4F6A-8CFD-E1EEC1FD03EF}"/>
          </ac:picMkLst>
        </pc:picChg>
      </pc:sldChg>
      <pc:sldChg chg="addSp delSp modSp add mod ord addAnim delAnim addCm delCm modNotesTx">
        <pc:chgData name="Andreea Bunduc" userId="f7ddd4c3-0921-4c29-878a-c006ec77d69b" providerId="ADAL" clId="{C877C75A-BC54-4265-90B4-AF9CBA9A80D4}" dt="2021-03-22T11:50:57.064" v="15999" actId="15"/>
        <pc:sldMkLst>
          <pc:docMk/>
          <pc:sldMk cId="605942267" sldId="2076137456"/>
        </pc:sldMkLst>
        <pc:spChg chg="mod">
          <ac:chgData name="Andreea Bunduc" userId="f7ddd4c3-0921-4c29-878a-c006ec77d69b" providerId="ADAL" clId="{C877C75A-BC54-4265-90B4-AF9CBA9A80D4}" dt="2021-03-22T11:40:47.970" v="15962" actId="20577"/>
          <ac:spMkLst>
            <pc:docMk/>
            <pc:sldMk cId="605942267" sldId="2076137456"/>
            <ac:spMk id="2" creationId="{2971EE3D-5416-4275-9430-391606B78F29}"/>
          </ac:spMkLst>
        </pc:spChg>
        <pc:spChg chg="add del mod">
          <ac:chgData name="Andreea Bunduc" userId="f7ddd4c3-0921-4c29-878a-c006ec77d69b" providerId="ADAL" clId="{C877C75A-BC54-4265-90B4-AF9CBA9A80D4}" dt="2021-03-08T10:43:49.165" v="4742" actId="1035"/>
          <ac:spMkLst>
            <pc:docMk/>
            <pc:sldMk cId="605942267" sldId="2076137456"/>
            <ac:spMk id="4" creationId="{6CA2FB25-4D89-451B-B219-51890F2D3E39}"/>
          </ac:spMkLst>
        </pc:spChg>
        <pc:spChg chg="mod">
          <ac:chgData name="Andreea Bunduc" userId="f7ddd4c3-0921-4c29-878a-c006ec77d69b" providerId="ADAL" clId="{C877C75A-BC54-4265-90B4-AF9CBA9A80D4}" dt="2021-03-08T10:43:49.165" v="4742" actId="1035"/>
          <ac:spMkLst>
            <pc:docMk/>
            <pc:sldMk cId="605942267" sldId="2076137456"/>
            <ac:spMk id="6" creationId="{B2344BA7-A182-4E66-BAE1-B69AFD03BBC6}"/>
          </ac:spMkLst>
        </pc:spChg>
        <pc:spChg chg="mod">
          <ac:chgData name="Andreea Bunduc" userId="f7ddd4c3-0921-4c29-878a-c006ec77d69b" providerId="ADAL" clId="{C877C75A-BC54-4265-90B4-AF9CBA9A80D4}" dt="2021-03-08T10:43:49.165" v="4742" actId="1035"/>
          <ac:spMkLst>
            <pc:docMk/>
            <pc:sldMk cId="605942267" sldId="2076137456"/>
            <ac:spMk id="8" creationId="{9AC59D26-7FCE-46A1-9DDD-C6AB7471BCE2}"/>
          </ac:spMkLst>
        </pc:spChg>
        <pc:spChg chg="mod">
          <ac:chgData name="Andreea Bunduc" userId="f7ddd4c3-0921-4c29-878a-c006ec77d69b" providerId="ADAL" clId="{C877C75A-BC54-4265-90B4-AF9CBA9A80D4}" dt="2021-03-08T10:43:49.165" v="4742" actId="1035"/>
          <ac:spMkLst>
            <pc:docMk/>
            <pc:sldMk cId="605942267" sldId="2076137456"/>
            <ac:spMk id="13" creationId="{20E1B1D3-BDA0-4DB0-AB4D-A08F4B5B3CAD}"/>
          </ac:spMkLst>
        </pc:spChg>
        <pc:spChg chg="add del">
          <ac:chgData name="Andreea Bunduc" userId="f7ddd4c3-0921-4c29-878a-c006ec77d69b" providerId="ADAL" clId="{C877C75A-BC54-4265-90B4-AF9CBA9A80D4}" dt="2021-03-08T09:40:30.988" v="3314" actId="11529"/>
          <ac:spMkLst>
            <pc:docMk/>
            <pc:sldMk cId="605942267" sldId="2076137456"/>
            <ac:spMk id="17" creationId="{73017B98-5F28-4BF2-8840-B8F5925A8A50}"/>
          </ac:spMkLst>
        </pc:spChg>
        <pc:spChg chg="add del">
          <ac:chgData name="Andreea Bunduc" userId="f7ddd4c3-0921-4c29-878a-c006ec77d69b" providerId="ADAL" clId="{C877C75A-BC54-4265-90B4-AF9CBA9A80D4}" dt="2021-03-08T09:45:41.220" v="3340" actId="11529"/>
          <ac:spMkLst>
            <pc:docMk/>
            <pc:sldMk cId="605942267" sldId="2076137456"/>
            <ac:spMk id="19" creationId="{55FA2CE9-963B-442A-B9B6-6F3A0EEDDDE4}"/>
          </ac:spMkLst>
        </pc:spChg>
        <pc:spChg chg="add del mod">
          <ac:chgData name="Andreea Bunduc" userId="f7ddd4c3-0921-4c29-878a-c006ec77d69b" providerId="ADAL" clId="{C877C75A-BC54-4265-90B4-AF9CBA9A80D4}" dt="2021-03-08T09:45:55.865" v="3343" actId="478"/>
          <ac:spMkLst>
            <pc:docMk/>
            <pc:sldMk cId="605942267" sldId="2076137456"/>
            <ac:spMk id="20" creationId="{859D029E-9470-4C20-AD4C-61F97021DBAF}"/>
          </ac:spMkLst>
        </pc:spChg>
        <pc:spChg chg="add del mod">
          <ac:chgData name="Andreea Bunduc" userId="f7ddd4c3-0921-4c29-878a-c006ec77d69b" providerId="ADAL" clId="{C877C75A-BC54-4265-90B4-AF9CBA9A80D4}" dt="2021-03-08T09:46:57.481" v="3350" actId="478"/>
          <ac:spMkLst>
            <pc:docMk/>
            <pc:sldMk cId="605942267" sldId="2076137456"/>
            <ac:spMk id="21" creationId="{2D478C25-0D2D-4D3A-BB70-444627FC92AA}"/>
          </ac:spMkLst>
        </pc:spChg>
        <pc:spChg chg="add del mod">
          <ac:chgData name="Andreea Bunduc" userId="f7ddd4c3-0921-4c29-878a-c006ec77d69b" providerId="ADAL" clId="{C877C75A-BC54-4265-90B4-AF9CBA9A80D4}" dt="2021-03-08T09:51:18.832" v="3371" actId="478"/>
          <ac:spMkLst>
            <pc:docMk/>
            <pc:sldMk cId="605942267" sldId="2076137456"/>
            <ac:spMk id="22" creationId="{C4BA3491-E529-469C-A307-12FD225CD38A}"/>
          </ac:spMkLst>
        </pc:spChg>
        <pc:spChg chg="add del mod">
          <ac:chgData name="Andreea Bunduc" userId="f7ddd4c3-0921-4c29-878a-c006ec77d69b" providerId="ADAL" clId="{C877C75A-BC54-4265-90B4-AF9CBA9A80D4}" dt="2021-03-08T09:51:18.833" v="3373"/>
          <ac:spMkLst>
            <pc:docMk/>
            <pc:sldMk cId="605942267" sldId="2076137456"/>
            <ac:spMk id="23" creationId="{A6624ECB-130C-4C72-B2F1-25F29020BFB4}"/>
          </ac:spMkLst>
        </pc:spChg>
        <pc:spChg chg="add del mod">
          <ac:chgData name="Andreea Bunduc" userId="f7ddd4c3-0921-4c29-878a-c006ec77d69b" providerId="ADAL" clId="{C877C75A-BC54-4265-90B4-AF9CBA9A80D4}" dt="2021-03-08T09:53:04.452" v="3392" actId="478"/>
          <ac:spMkLst>
            <pc:docMk/>
            <pc:sldMk cId="605942267" sldId="2076137456"/>
            <ac:spMk id="24" creationId="{052BBBCD-7AC6-475C-AB82-BB307E79582B}"/>
          </ac:spMkLst>
        </pc:spChg>
        <pc:spChg chg="add del mod">
          <ac:chgData name="Andreea Bunduc" userId="f7ddd4c3-0921-4c29-878a-c006ec77d69b" providerId="ADAL" clId="{C877C75A-BC54-4265-90B4-AF9CBA9A80D4}" dt="2021-03-11T16:43:11.845" v="11084" actId="478"/>
          <ac:spMkLst>
            <pc:docMk/>
            <pc:sldMk cId="605942267" sldId="2076137456"/>
            <ac:spMk id="25" creationId="{CCD96624-990D-4BBC-8597-1D3C72075F2E}"/>
          </ac:spMkLst>
        </pc:spChg>
        <pc:spChg chg="mod">
          <ac:chgData name="Andreea Bunduc" userId="f7ddd4c3-0921-4c29-878a-c006ec77d69b" providerId="ADAL" clId="{C877C75A-BC54-4265-90B4-AF9CBA9A80D4}" dt="2021-03-08T10:44:01.899" v="4763" actId="1035"/>
          <ac:spMkLst>
            <pc:docMk/>
            <pc:sldMk cId="605942267" sldId="2076137456"/>
            <ac:spMk id="32" creationId="{AA02C0DF-7930-437A-B2EA-C7B3DF8A1BE5}"/>
          </ac:spMkLst>
        </pc:spChg>
        <pc:spChg chg="mod">
          <ac:chgData name="Andreea Bunduc" userId="f7ddd4c3-0921-4c29-878a-c006ec77d69b" providerId="ADAL" clId="{C877C75A-BC54-4265-90B4-AF9CBA9A80D4}" dt="2021-03-08T10:44:01.899" v="4763" actId="1035"/>
          <ac:spMkLst>
            <pc:docMk/>
            <pc:sldMk cId="605942267" sldId="2076137456"/>
            <ac:spMk id="33" creationId="{9D8B5A63-A0FF-47A0-BB0D-8BBF5123D479}"/>
          </ac:spMkLst>
        </pc:spChg>
        <pc:spChg chg="mod">
          <ac:chgData name="Andreea Bunduc" userId="f7ddd4c3-0921-4c29-878a-c006ec77d69b" providerId="ADAL" clId="{C877C75A-BC54-4265-90B4-AF9CBA9A80D4}" dt="2021-03-08T10:43:49.165" v="4742" actId="1035"/>
          <ac:spMkLst>
            <pc:docMk/>
            <pc:sldMk cId="605942267" sldId="2076137456"/>
            <ac:spMk id="40" creationId="{C329C38D-6FAB-4255-94D9-4D60003E4E8A}"/>
          </ac:spMkLst>
        </pc:spChg>
        <pc:spChg chg="mod">
          <ac:chgData name="Andreea Bunduc" userId="f7ddd4c3-0921-4c29-878a-c006ec77d69b" providerId="ADAL" clId="{C877C75A-BC54-4265-90B4-AF9CBA9A80D4}" dt="2021-03-08T10:43:49.165" v="4742" actId="1035"/>
          <ac:spMkLst>
            <pc:docMk/>
            <pc:sldMk cId="605942267" sldId="2076137456"/>
            <ac:spMk id="41" creationId="{FBEA0CA1-2C0D-4F8A-A5B2-DEB141C449AB}"/>
          </ac:spMkLst>
        </pc:spChg>
        <pc:spChg chg="mod">
          <ac:chgData name="Andreea Bunduc" userId="f7ddd4c3-0921-4c29-878a-c006ec77d69b" providerId="ADAL" clId="{C877C75A-BC54-4265-90B4-AF9CBA9A80D4}" dt="2021-03-08T10:43:49.165" v="4742" actId="1035"/>
          <ac:spMkLst>
            <pc:docMk/>
            <pc:sldMk cId="605942267" sldId="2076137456"/>
            <ac:spMk id="61" creationId="{18FA8038-D6DC-4D16-A595-827BCD70533C}"/>
          </ac:spMkLst>
        </pc:spChg>
        <pc:spChg chg="mod">
          <ac:chgData name="Andreea Bunduc" userId="f7ddd4c3-0921-4c29-878a-c006ec77d69b" providerId="ADAL" clId="{C877C75A-BC54-4265-90B4-AF9CBA9A80D4}" dt="2021-03-08T10:43:49.165" v="4742" actId="1035"/>
          <ac:spMkLst>
            <pc:docMk/>
            <pc:sldMk cId="605942267" sldId="2076137456"/>
            <ac:spMk id="228" creationId="{A8C24067-0477-41D2-A305-4B1A9DFD7B04}"/>
          </ac:spMkLst>
        </pc:spChg>
        <pc:graphicFrameChg chg="add del mod modGraphic">
          <ac:chgData name="Andreea Bunduc" userId="f7ddd4c3-0921-4c29-878a-c006ec77d69b" providerId="ADAL" clId="{C877C75A-BC54-4265-90B4-AF9CBA9A80D4}" dt="2021-03-08T09:45:25.587" v="3338" actId="1032"/>
          <ac:graphicFrameMkLst>
            <pc:docMk/>
            <pc:sldMk cId="605942267" sldId="2076137456"/>
            <ac:graphicFrameMk id="18" creationId="{AF22F10C-7AAA-4392-AA13-DB4658FBE92D}"/>
          </ac:graphicFrameMkLst>
        </pc:graphicFrameChg>
        <pc:cxnChg chg="add del">
          <ac:chgData name="Andreea Bunduc" userId="f7ddd4c3-0921-4c29-878a-c006ec77d69b" providerId="ADAL" clId="{C877C75A-BC54-4265-90B4-AF9CBA9A80D4}" dt="2021-03-08T09:34:30.211" v="3310" actId="11529"/>
          <ac:cxnSpMkLst>
            <pc:docMk/>
            <pc:sldMk cId="605942267" sldId="2076137456"/>
            <ac:cxnSpMk id="9" creationId="{5FC68187-E230-4BFB-B742-7D707F70BF28}"/>
          </ac:cxnSpMkLst>
        </pc:cxnChg>
        <pc:cxnChg chg="add del">
          <ac:chgData name="Andreea Bunduc" userId="f7ddd4c3-0921-4c29-878a-c006ec77d69b" providerId="ADAL" clId="{C877C75A-BC54-4265-90B4-AF9CBA9A80D4}" dt="2021-03-08T09:37:02.838" v="3312" actId="478"/>
          <ac:cxnSpMkLst>
            <pc:docMk/>
            <pc:sldMk cId="605942267" sldId="2076137456"/>
            <ac:cxnSpMk id="16" creationId="{C1F33D38-6E50-43A8-B0B6-A56E42161BA4}"/>
          </ac:cxnSpMkLst>
        </pc:cxnChg>
        <pc:cxnChg chg="add del mod">
          <ac:chgData name="Andreea Bunduc" userId="f7ddd4c3-0921-4c29-878a-c006ec77d69b" providerId="ADAL" clId="{C877C75A-BC54-4265-90B4-AF9CBA9A80D4}" dt="2021-03-11T16:43:10.240" v="11083" actId="478"/>
          <ac:cxnSpMkLst>
            <pc:docMk/>
            <pc:sldMk cId="605942267" sldId="2076137456"/>
            <ac:cxnSpMk id="27" creationId="{920C0260-0176-4333-8C20-6FC3CEFFD672}"/>
          </ac:cxnSpMkLst>
        </pc:cxnChg>
        <pc:cxnChg chg="mod">
          <ac:chgData name="Andreea Bunduc" userId="f7ddd4c3-0921-4c29-878a-c006ec77d69b" providerId="ADAL" clId="{C877C75A-BC54-4265-90B4-AF9CBA9A80D4}" dt="2021-03-08T10:43:49.165" v="4742" actId="1035"/>
          <ac:cxnSpMkLst>
            <pc:docMk/>
            <pc:sldMk cId="605942267" sldId="2076137456"/>
            <ac:cxnSpMk id="254" creationId="{74FB8611-1545-4B1A-92EB-B7C6CBA9633A}"/>
          </ac:cxnSpMkLst>
        </pc:cxnChg>
      </pc:sldChg>
      <pc:sldChg chg="addSp delSp modSp new del mod chgLayout">
        <pc:chgData name="Andreea Bunduc" userId="f7ddd4c3-0921-4c29-878a-c006ec77d69b" providerId="ADAL" clId="{C877C75A-BC54-4265-90B4-AF9CBA9A80D4}" dt="2021-03-08T10:05:07.165" v="3447" actId="2696"/>
        <pc:sldMkLst>
          <pc:docMk/>
          <pc:sldMk cId="3539562794" sldId="2076137457"/>
        </pc:sldMkLst>
        <pc:spChg chg="del mod ord">
          <ac:chgData name="Andreea Bunduc" userId="f7ddd4c3-0921-4c29-878a-c006ec77d69b" providerId="ADAL" clId="{C877C75A-BC54-4265-90B4-AF9CBA9A80D4}" dt="2021-03-08T10:04:49.149" v="3435" actId="700"/>
          <ac:spMkLst>
            <pc:docMk/>
            <pc:sldMk cId="3539562794" sldId="2076137457"/>
            <ac:spMk id="2" creationId="{51312249-4DA0-4B73-818A-00D74E6F013C}"/>
          </ac:spMkLst>
        </pc:spChg>
        <pc:spChg chg="add mod ord">
          <ac:chgData name="Andreea Bunduc" userId="f7ddd4c3-0921-4c29-878a-c006ec77d69b" providerId="ADAL" clId="{C877C75A-BC54-4265-90B4-AF9CBA9A80D4}" dt="2021-03-08T10:04:57.887" v="3443" actId="20577"/>
          <ac:spMkLst>
            <pc:docMk/>
            <pc:sldMk cId="3539562794" sldId="2076137457"/>
            <ac:spMk id="3" creationId="{4B1C6030-4062-482B-A0E0-D9B2A009C2BB}"/>
          </ac:spMkLst>
        </pc:spChg>
      </pc:sldChg>
      <pc:sldChg chg="addSp modSp add del mod ord modTransition modShow addCm modNotesTx">
        <pc:chgData name="Andreea Bunduc" userId="f7ddd4c3-0921-4c29-878a-c006ec77d69b" providerId="ADAL" clId="{C877C75A-BC54-4265-90B4-AF9CBA9A80D4}" dt="2021-03-19T10:23:12.855" v="15601" actId="2696"/>
        <pc:sldMkLst>
          <pc:docMk/>
          <pc:sldMk cId="159698772" sldId="2076137458"/>
        </pc:sldMkLst>
        <pc:spChg chg="mod">
          <ac:chgData name="Andreea Bunduc" userId="f7ddd4c3-0921-4c29-878a-c006ec77d69b" providerId="ADAL" clId="{C877C75A-BC54-4265-90B4-AF9CBA9A80D4}" dt="2021-03-08T10:05:31.153" v="3503" actId="20577"/>
          <ac:spMkLst>
            <pc:docMk/>
            <pc:sldMk cId="159698772" sldId="2076137458"/>
            <ac:spMk id="10" creationId="{53EC6F74-4994-4365-BF20-3ACC76EB7EDA}"/>
          </ac:spMkLst>
        </pc:spChg>
        <pc:spChg chg="add mod">
          <ac:chgData name="Andreea Bunduc" userId="f7ddd4c3-0921-4c29-878a-c006ec77d69b" providerId="ADAL" clId="{C877C75A-BC54-4265-90B4-AF9CBA9A80D4}" dt="2021-03-08T10:05:39.579" v="3505" actId="1076"/>
          <ac:spMkLst>
            <pc:docMk/>
            <pc:sldMk cId="159698772" sldId="2076137458"/>
            <ac:spMk id="12" creationId="{6D8BCE35-5C00-4E10-9F38-37A5EAF558D5}"/>
          </ac:spMkLst>
        </pc:spChg>
        <pc:graphicFrameChg chg="add mod modGraphic">
          <ac:chgData name="Andreea Bunduc" userId="f7ddd4c3-0921-4c29-878a-c006ec77d69b" providerId="ADAL" clId="{C877C75A-BC54-4265-90B4-AF9CBA9A80D4}" dt="2021-03-08T11:01:42.696" v="4830" actId="20577"/>
          <ac:graphicFrameMkLst>
            <pc:docMk/>
            <pc:sldMk cId="159698772" sldId="2076137458"/>
            <ac:graphicFrameMk id="13" creationId="{A2C6ACAC-E2D3-48C2-B150-0CF526F6F667}"/>
          </ac:graphicFrameMkLst>
        </pc:graphicFrameChg>
        <pc:graphicFrameChg chg="add mod modGraphic">
          <ac:chgData name="Andreea Bunduc" userId="f7ddd4c3-0921-4c29-878a-c006ec77d69b" providerId="ADAL" clId="{C877C75A-BC54-4265-90B4-AF9CBA9A80D4}" dt="2021-03-08T11:01:47.564" v="4838" actId="20577"/>
          <ac:graphicFrameMkLst>
            <pc:docMk/>
            <pc:sldMk cId="159698772" sldId="2076137458"/>
            <ac:graphicFrameMk id="14" creationId="{CFF97147-54ED-4A92-8D56-C6323660B2D6}"/>
          </ac:graphicFrameMkLst>
        </pc:graphicFrameChg>
      </pc:sldChg>
      <pc:sldChg chg="modSp add del mod ord">
        <pc:chgData name="Andreea Bunduc" userId="f7ddd4c3-0921-4c29-878a-c006ec77d69b" providerId="ADAL" clId="{C877C75A-BC54-4265-90B4-AF9CBA9A80D4}" dt="2021-03-08T10:16:15.405" v="3720" actId="47"/>
        <pc:sldMkLst>
          <pc:docMk/>
          <pc:sldMk cId="897377975" sldId="2076137459"/>
        </pc:sldMkLst>
        <pc:spChg chg="mod">
          <ac:chgData name="Andreea Bunduc" userId="f7ddd4c3-0921-4c29-878a-c006ec77d69b" providerId="ADAL" clId="{C877C75A-BC54-4265-90B4-AF9CBA9A80D4}" dt="2021-03-08T10:14:24.712" v="3648" actId="14100"/>
          <ac:spMkLst>
            <pc:docMk/>
            <pc:sldMk cId="897377975" sldId="2076137459"/>
            <ac:spMk id="20" creationId="{9C4A0BF9-E23F-4CFA-BFB9-1923DF03340F}"/>
          </ac:spMkLst>
        </pc:spChg>
        <pc:spChg chg="mod">
          <ac:chgData name="Andreea Bunduc" userId="f7ddd4c3-0921-4c29-878a-c006ec77d69b" providerId="ADAL" clId="{C877C75A-BC54-4265-90B4-AF9CBA9A80D4}" dt="2021-03-08T10:14:51.371" v="3675" actId="20577"/>
          <ac:spMkLst>
            <pc:docMk/>
            <pc:sldMk cId="897377975" sldId="2076137459"/>
            <ac:spMk id="26" creationId="{060B385F-DDAB-4620-9658-189E6CCEF254}"/>
          </ac:spMkLst>
        </pc:spChg>
        <pc:spChg chg="mod">
          <ac:chgData name="Andreea Bunduc" userId="f7ddd4c3-0921-4c29-878a-c006ec77d69b" providerId="ADAL" clId="{C877C75A-BC54-4265-90B4-AF9CBA9A80D4}" dt="2021-03-08T10:15:07.021" v="3685" actId="20577"/>
          <ac:spMkLst>
            <pc:docMk/>
            <pc:sldMk cId="897377975" sldId="2076137459"/>
            <ac:spMk id="46" creationId="{423E3344-0D3E-40C6-A30D-D9146C16FFD2}"/>
          </ac:spMkLst>
        </pc:spChg>
      </pc:sldChg>
      <pc:sldChg chg="addSp modSp add mod modTransition addCm delCm modNotesTx">
        <pc:chgData name="Andreea Bunduc" userId="f7ddd4c3-0921-4c29-878a-c006ec77d69b" providerId="ADAL" clId="{C877C75A-BC54-4265-90B4-AF9CBA9A80D4}" dt="2021-03-25T10:26:46.842" v="16017" actId="20577"/>
        <pc:sldMkLst>
          <pc:docMk/>
          <pc:sldMk cId="3021527048" sldId="2076137460"/>
        </pc:sldMkLst>
        <pc:spChg chg="mod">
          <ac:chgData name="Andreea Bunduc" userId="f7ddd4c3-0921-4c29-878a-c006ec77d69b" providerId="ADAL" clId="{C877C75A-BC54-4265-90B4-AF9CBA9A80D4}" dt="2021-03-08T10:15:58.076" v="3694" actId="13926"/>
          <ac:spMkLst>
            <pc:docMk/>
            <pc:sldMk cId="3021527048" sldId="2076137460"/>
            <ac:spMk id="2" creationId="{45010FE8-BF09-4146-B084-66CB05B66FD9}"/>
          </ac:spMkLst>
        </pc:spChg>
        <pc:spChg chg="mod">
          <ac:chgData name="Andreea Bunduc" userId="f7ddd4c3-0921-4c29-878a-c006ec77d69b" providerId="ADAL" clId="{C877C75A-BC54-4265-90B4-AF9CBA9A80D4}" dt="2021-03-19T10:30:27.322" v="15751" actId="13926"/>
          <ac:spMkLst>
            <pc:docMk/>
            <pc:sldMk cId="3021527048" sldId="2076137460"/>
            <ac:spMk id="37" creationId="{CE42D0AB-7452-4392-BC3A-2FBF53935176}"/>
          </ac:spMkLst>
        </pc:spChg>
        <pc:spChg chg="mod">
          <ac:chgData name="Andreea Bunduc" userId="f7ddd4c3-0921-4c29-878a-c006ec77d69b" providerId="ADAL" clId="{C877C75A-BC54-4265-90B4-AF9CBA9A80D4}" dt="2021-03-19T10:30:25.065" v="15750" actId="13926"/>
          <ac:spMkLst>
            <pc:docMk/>
            <pc:sldMk cId="3021527048" sldId="2076137460"/>
            <ac:spMk id="42" creationId="{221C6D26-819F-4A58-A25B-6B980AF63BC6}"/>
          </ac:spMkLst>
        </pc:spChg>
        <pc:spChg chg="mod">
          <ac:chgData name="Andreea Bunduc" userId="f7ddd4c3-0921-4c29-878a-c006ec77d69b" providerId="ADAL" clId="{C877C75A-BC54-4265-90B4-AF9CBA9A80D4}" dt="2021-03-19T10:30:21.599" v="15748" actId="13926"/>
          <ac:spMkLst>
            <pc:docMk/>
            <pc:sldMk cId="3021527048" sldId="2076137460"/>
            <ac:spMk id="48" creationId="{7E5CB00B-19B5-4FEC-80FF-940E8DAF0250}"/>
          </ac:spMkLst>
        </pc:spChg>
        <pc:spChg chg="mod">
          <ac:chgData name="Andreea Bunduc" userId="f7ddd4c3-0921-4c29-878a-c006ec77d69b" providerId="ADAL" clId="{C877C75A-BC54-4265-90B4-AF9CBA9A80D4}" dt="2021-03-16T16:48:17.847" v="15295" actId="20577"/>
          <ac:spMkLst>
            <pc:docMk/>
            <pc:sldMk cId="3021527048" sldId="2076137460"/>
            <ac:spMk id="52" creationId="{56436D73-829E-438E-AE79-D88C49494BCA}"/>
          </ac:spMkLst>
        </pc:spChg>
        <pc:spChg chg="mod">
          <ac:chgData name="Andreea Bunduc" userId="f7ddd4c3-0921-4c29-878a-c006ec77d69b" providerId="ADAL" clId="{C877C75A-BC54-4265-90B4-AF9CBA9A80D4}" dt="2021-03-19T10:30:19.676" v="15747" actId="13926"/>
          <ac:spMkLst>
            <pc:docMk/>
            <pc:sldMk cId="3021527048" sldId="2076137460"/>
            <ac:spMk id="54" creationId="{CE106E87-5845-4974-9575-AFD9EF2A8ACA}"/>
          </ac:spMkLst>
        </pc:spChg>
        <pc:spChg chg="mod">
          <ac:chgData name="Andreea Bunduc" userId="f7ddd4c3-0921-4c29-878a-c006ec77d69b" providerId="ADAL" clId="{C877C75A-BC54-4265-90B4-AF9CBA9A80D4}" dt="2021-03-16T16:48:20.234" v="15297" actId="20577"/>
          <ac:spMkLst>
            <pc:docMk/>
            <pc:sldMk cId="3021527048" sldId="2076137460"/>
            <ac:spMk id="58" creationId="{328DBF5F-9DBF-4AD4-AC18-9352FAC129AD}"/>
          </ac:spMkLst>
        </pc:spChg>
        <pc:spChg chg="mod">
          <ac:chgData name="Andreea Bunduc" userId="f7ddd4c3-0921-4c29-878a-c006ec77d69b" providerId="ADAL" clId="{C877C75A-BC54-4265-90B4-AF9CBA9A80D4}" dt="2021-03-16T16:48:11.323" v="15289" actId="20577"/>
          <ac:spMkLst>
            <pc:docMk/>
            <pc:sldMk cId="3021527048" sldId="2076137460"/>
            <ac:spMk id="59" creationId="{40EBEB94-9834-4BBF-97B1-656CDC7ADAE5}"/>
          </ac:spMkLst>
        </pc:spChg>
        <pc:spChg chg="mod">
          <ac:chgData name="Andreea Bunduc" userId="f7ddd4c3-0921-4c29-878a-c006ec77d69b" providerId="ADAL" clId="{C877C75A-BC54-4265-90B4-AF9CBA9A80D4}" dt="2021-03-16T16:48:13.492" v="15291" actId="20577"/>
          <ac:spMkLst>
            <pc:docMk/>
            <pc:sldMk cId="3021527048" sldId="2076137460"/>
            <ac:spMk id="60" creationId="{FBE556BD-C124-4A6A-99F0-2BE2C03CCAC8}"/>
          </ac:spMkLst>
        </pc:spChg>
        <pc:spChg chg="mod">
          <ac:chgData name="Andreea Bunduc" userId="f7ddd4c3-0921-4c29-878a-c006ec77d69b" providerId="ADAL" clId="{C877C75A-BC54-4265-90B4-AF9CBA9A80D4}" dt="2021-03-19T10:30:23.450" v="15749" actId="13926"/>
          <ac:spMkLst>
            <pc:docMk/>
            <pc:sldMk cId="3021527048" sldId="2076137460"/>
            <ac:spMk id="62" creationId="{114E2F3B-923E-4452-862E-0112691AF3B4}"/>
          </ac:spMkLst>
        </pc:spChg>
        <pc:spChg chg="mod">
          <ac:chgData name="Andreea Bunduc" userId="f7ddd4c3-0921-4c29-878a-c006ec77d69b" providerId="ADAL" clId="{C877C75A-BC54-4265-90B4-AF9CBA9A80D4}" dt="2021-03-16T16:48:15.935" v="15293" actId="20577"/>
          <ac:spMkLst>
            <pc:docMk/>
            <pc:sldMk cId="3021527048" sldId="2076137460"/>
            <ac:spMk id="66" creationId="{96ADE966-EDDA-4AB8-95B8-7C5BF42B1741}"/>
          </ac:spMkLst>
        </pc:spChg>
        <pc:spChg chg="mod">
          <ac:chgData name="Andreea Bunduc" userId="f7ddd4c3-0921-4c29-878a-c006ec77d69b" providerId="ADAL" clId="{C877C75A-BC54-4265-90B4-AF9CBA9A80D4}" dt="2021-03-19T10:30:17.577" v="15746" actId="13926"/>
          <ac:spMkLst>
            <pc:docMk/>
            <pc:sldMk cId="3021527048" sldId="2076137460"/>
            <ac:spMk id="68" creationId="{D520D6AE-B564-45F6-9AF2-96AD29E17E73}"/>
          </ac:spMkLst>
        </pc:spChg>
        <pc:spChg chg="mod">
          <ac:chgData name="Andreea Bunduc" userId="f7ddd4c3-0921-4c29-878a-c006ec77d69b" providerId="ADAL" clId="{C877C75A-BC54-4265-90B4-AF9CBA9A80D4}" dt="2021-03-08T10:24:18.830" v="3957"/>
          <ac:spMkLst>
            <pc:docMk/>
            <pc:sldMk cId="3021527048" sldId="2076137460"/>
            <ac:spMk id="70" creationId="{3C1D36FD-110F-4536-836E-3050E39F6A71}"/>
          </ac:spMkLst>
        </pc:spChg>
        <pc:spChg chg="mod">
          <ac:chgData name="Andreea Bunduc" userId="f7ddd4c3-0921-4c29-878a-c006ec77d69b" providerId="ADAL" clId="{C877C75A-BC54-4265-90B4-AF9CBA9A80D4}" dt="2021-03-08T10:24:18.830" v="3957"/>
          <ac:spMkLst>
            <pc:docMk/>
            <pc:sldMk cId="3021527048" sldId="2076137460"/>
            <ac:spMk id="71" creationId="{287AE963-0C10-4693-AA3D-CD3BB3FC4C32}"/>
          </ac:spMkLst>
        </pc:spChg>
        <pc:spChg chg="add mod">
          <ac:chgData name="Andreea Bunduc" userId="f7ddd4c3-0921-4c29-878a-c006ec77d69b" providerId="ADAL" clId="{C877C75A-BC54-4265-90B4-AF9CBA9A80D4}" dt="2021-03-16T16:48:23.018" v="15299" actId="20577"/>
          <ac:spMkLst>
            <pc:docMk/>
            <pc:sldMk cId="3021527048" sldId="2076137460"/>
            <ac:spMk id="72" creationId="{981E366D-E5AD-4E19-9523-1427E9F301F5}"/>
          </ac:spMkLst>
        </pc:spChg>
        <pc:grpChg chg="mod">
          <ac:chgData name="Andreea Bunduc" userId="f7ddd4c3-0921-4c29-878a-c006ec77d69b" providerId="ADAL" clId="{C877C75A-BC54-4265-90B4-AF9CBA9A80D4}" dt="2021-03-08T10:24:09.362" v="3956" actId="1035"/>
          <ac:grpSpMkLst>
            <pc:docMk/>
            <pc:sldMk cId="3021527048" sldId="2076137460"/>
            <ac:grpSpMk id="36" creationId="{400543B6-BC34-4299-9434-C406643738C2}"/>
          </ac:grpSpMkLst>
        </pc:grpChg>
        <pc:grpChg chg="mod">
          <ac:chgData name="Andreea Bunduc" userId="f7ddd4c3-0921-4c29-878a-c006ec77d69b" providerId="ADAL" clId="{C877C75A-BC54-4265-90B4-AF9CBA9A80D4}" dt="2021-03-08T10:24:09.362" v="3956" actId="1035"/>
          <ac:grpSpMkLst>
            <pc:docMk/>
            <pc:sldMk cId="3021527048" sldId="2076137460"/>
            <ac:grpSpMk id="41" creationId="{53E51435-1702-4A8C-B241-7759D9397E40}"/>
          </ac:grpSpMkLst>
        </pc:grpChg>
        <pc:grpChg chg="mod">
          <ac:chgData name="Andreea Bunduc" userId="f7ddd4c3-0921-4c29-878a-c006ec77d69b" providerId="ADAL" clId="{C877C75A-BC54-4265-90B4-AF9CBA9A80D4}" dt="2021-03-08T10:24:09.362" v="3956" actId="1035"/>
          <ac:grpSpMkLst>
            <pc:docMk/>
            <pc:sldMk cId="3021527048" sldId="2076137460"/>
            <ac:grpSpMk id="47" creationId="{4F86ACE5-F663-4109-A82D-4E928919B334}"/>
          </ac:grpSpMkLst>
        </pc:grpChg>
        <pc:grpChg chg="mod">
          <ac:chgData name="Andreea Bunduc" userId="f7ddd4c3-0921-4c29-878a-c006ec77d69b" providerId="ADAL" clId="{C877C75A-BC54-4265-90B4-AF9CBA9A80D4}" dt="2021-03-08T10:24:09.362" v="3956" actId="1035"/>
          <ac:grpSpMkLst>
            <pc:docMk/>
            <pc:sldMk cId="3021527048" sldId="2076137460"/>
            <ac:grpSpMk id="53" creationId="{AB527A31-C35C-4945-AABE-BB4DD9AF735B}"/>
          </ac:grpSpMkLst>
        </pc:grpChg>
        <pc:grpChg chg="mod">
          <ac:chgData name="Andreea Bunduc" userId="f7ddd4c3-0921-4c29-878a-c006ec77d69b" providerId="ADAL" clId="{C877C75A-BC54-4265-90B4-AF9CBA9A80D4}" dt="2021-03-08T10:24:09.362" v="3956" actId="1035"/>
          <ac:grpSpMkLst>
            <pc:docMk/>
            <pc:sldMk cId="3021527048" sldId="2076137460"/>
            <ac:grpSpMk id="61" creationId="{19150DA2-B8DD-4522-AF8E-0176F647C2AF}"/>
          </ac:grpSpMkLst>
        </pc:grpChg>
        <pc:grpChg chg="add mod">
          <ac:chgData name="Andreea Bunduc" userId="f7ddd4c3-0921-4c29-878a-c006ec77d69b" providerId="ADAL" clId="{C877C75A-BC54-4265-90B4-AF9CBA9A80D4}" dt="2021-03-08T10:25:09.058" v="3993" actId="1037"/>
          <ac:grpSpMkLst>
            <pc:docMk/>
            <pc:sldMk cId="3021527048" sldId="2076137460"/>
            <ac:grpSpMk id="67" creationId="{931EE8B7-0E5E-4303-B908-E80BB7E85F2B}"/>
          </ac:grpSpMkLst>
        </pc:grpChg>
        <pc:grpChg chg="mod">
          <ac:chgData name="Andreea Bunduc" userId="f7ddd4c3-0921-4c29-878a-c006ec77d69b" providerId="ADAL" clId="{C877C75A-BC54-4265-90B4-AF9CBA9A80D4}" dt="2021-03-08T10:24:18.830" v="3957"/>
          <ac:grpSpMkLst>
            <pc:docMk/>
            <pc:sldMk cId="3021527048" sldId="2076137460"/>
            <ac:grpSpMk id="69" creationId="{2D32826D-D4FD-453B-859D-1FCFBA30CA31}"/>
          </ac:grpSpMkLst>
        </pc:grpChg>
        <pc:cxnChg chg="mod">
          <ac:chgData name="Andreea Bunduc" userId="f7ddd4c3-0921-4c29-878a-c006ec77d69b" providerId="ADAL" clId="{C877C75A-BC54-4265-90B4-AF9CBA9A80D4}" dt="2021-03-08T10:24:09.362" v="3956" actId="1035"/>
          <ac:cxnSpMkLst>
            <pc:docMk/>
            <pc:sldMk cId="3021527048" sldId="2076137460"/>
            <ac:cxnSpMk id="32" creationId="{F2C05614-389C-48AD-A023-B2A0E026B0AA}"/>
          </ac:cxnSpMkLst>
        </pc:cxnChg>
        <pc:cxnChg chg="mod">
          <ac:chgData name="Andreea Bunduc" userId="f7ddd4c3-0921-4c29-878a-c006ec77d69b" providerId="ADAL" clId="{C877C75A-BC54-4265-90B4-AF9CBA9A80D4}" dt="2021-03-08T10:24:09.362" v="3956" actId="1035"/>
          <ac:cxnSpMkLst>
            <pc:docMk/>
            <pc:sldMk cId="3021527048" sldId="2076137460"/>
            <ac:cxnSpMk id="33" creationId="{CF2B8574-B56C-47A5-92D5-326EE0A19AB7}"/>
          </ac:cxnSpMkLst>
        </pc:cxnChg>
        <pc:cxnChg chg="mod">
          <ac:chgData name="Andreea Bunduc" userId="f7ddd4c3-0921-4c29-878a-c006ec77d69b" providerId="ADAL" clId="{C877C75A-BC54-4265-90B4-AF9CBA9A80D4}" dt="2021-03-08T10:24:09.362" v="3956" actId="1035"/>
          <ac:cxnSpMkLst>
            <pc:docMk/>
            <pc:sldMk cId="3021527048" sldId="2076137460"/>
            <ac:cxnSpMk id="34" creationId="{699A7D01-100F-4767-A0E0-0F52A5CED2F2}"/>
          </ac:cxnSpMkLst>
        </pc:cxnChg>
        <pc:cxnChg chg="mod">
          <ac:chgData name="Andreea Bunduc" userId="f7ddd4c3-0921-4c29-878a-c006ec77d69b" providerId="ADAL" clId="{C877C75A-BC54-4265-90B4-AF9CBA9A80D4}" dt="2021-03-08T10:24:09.362" v="3956" actId="1035"/>
          <ac:cxnSpMkLst>
            <pc:docMk/>
            <pc:sldMk cId="3021527048" sldId="2076137460"/>
            <ac:cxnSpMk id="35" creationId="{EA85159A-2FB8-48E2-AB17-5A97DB44ED87}"/>
          </ac:cxnSpMkLst>
        </pc:cxnChg>
        <pc:cxnChg chg="add mod">
          <ac:chgData name="Andreea Bunduc" userId="f7ddd4c3-0921-4c29-878a-c006ec77d69b" providerId="ADAL" clId="{C877C75A-BC54-4265-90B4-AF9CBA9A80D4}" dt="2021-03-08T10:25:09.058" v="3993" actId="1037"/>
          <ac:cxnSpMkLst>
            <pc:docMk/>
            <pc:sldMk cId="3021527048" sldId="2076137460"/>
            <ac:cxnSpMk id="45" creationId="{AEC30CB7-8E51-47E9-AE99-B87C0CC669FF}"/>
          </ac:cxnSpMkLst>
        </pc:cxnChg>
      </pc:sldChg>
      <pc:sldChg chg="modSp add mod ord delCm modNotesTx">
        <pc:chgData name="Andreea Bunduc" userId="f7ddd4c3-0921-4c29-878a-c006ec77d69b" providerId="ADAL" clId="{C877C75A-BC54-4265-90B4-AF9CBA9A80D4}" dt="2021-03-22T11:53:07.122" v="16013" actId="15"/>
        <pc:sldMkLst>
          <pc:docMk/>
          <pc:sldMk cId="3014498644" sldId="2076137461"/>
        </pc:sldMkLst>
        <pc:spChg chg="mod">
          <ac:chgData name="Andreea Bunduc" userId="f7ddd4c3-0921-4c29-878a-c006ec77d69b" providerId="ADAL" clId="{C877C75A-BC54-4265-90B4-AF9CBA9A80D4}" dt="2021-03-19T10:33:21.893" v="15764" actId="13926"/>
          <ac:spMkLst>
            <pc:docMk/>
            <pc:sldMk cId="3014498644" sldId="2076137461"/>
            <ac:spMk id="10" creationId="{53EC6F74-4994-4365-BF20-3ACC76EB7EDA}"/>
          </ac:spMkLst>
        </pc:spChg>
        <pc:spChg chg="mod">
          <ac:chgData name="Andreea Bunduc" userId="f7ddd4c3-0921-4c29-878a-c006ec77d69b" providerId="ADAL" clId="{C877C75A-BC54-4265-90B4-AF9CBA9A80D4}" dt="2021-03-16T13:51:23.284" v="14119"/>
          <ac:spMkLst>
            <pc:docMk/>
            <pc:sldMk cId="3014498644" sldId="2076137461"/>
            <ac:spMk id="15" creationId="{BDD64BFD-7ED9-4476-ABC3-6BBAC4A275B2}"/>
          </ac:spMkLst>
        </pc:spChg>
      </pc:sldChg>
      <pc:sldChg chg="modSp add mod modTransition modNotesTx">
        <pc:chgData name="Andreea Bunduc" userId="f7ddd4c3-0921-4c29-878a-c006ec77d69b" providerId="ADAL" clId="{C877C75A-BC54-4265-90B4-AF9CBA9A80D4}" dt="2021-03-19T10:53:18.262" v="15849" actId="20577"/>
        <pc:sldMkLst>
          <pc:docMk/>
          <pc:sldMk cId="4145431178" sldId="2076137462"/>
        </pc:sldMkLst>
        <pc:spChg chg="mod">
          <ac:chgData name="Andreea Bunduc" userId="f7ddd4c3-0921-4c29-878a-c006ec77d69b" providerId="ADAL" clId="{C877C75A-BC54-4265-90B4-AF9CBA9A80D4}" dt="2021-03-19T10:47:01.789" v="15793" actId="13926"/>
          <ac:spMkLst>
            <pc:docMk/>
            <pc:sldMk cId="4145431178" sldId="2076137462"/>
            <ac:spMk id="10" creationId="{53EC6F74-4994-4365-BF20-3ACC76EB7EDA}"/>
          </ac:spMkLst>
        </pc:spChg>
        <pc:spChg chg="mod">
          <ac:chgData name="Andreea Bunduc" userId="f7ddd4c3-0921-4c29-878a-c006ec77d69b" providerId="ADAL" clId="{C877C75A-BC54-4265-90B4-AF9CBA9A80D4}" dt="2021-03-16T16:54:17.189" v="15531"/>
          <ac:spMkLst>
            <pc:docMk/>
            <pc:sldMk cId="4145431178" sldId="2076137462"/>
            <ac:spMk id="15" creationId="{BDD64BFD-7ED9-4476-ABC3-6BBAC4A275B2}"/>
          </ac:spMkLst>
        </pc:spChg>
      </pc:sldChg>
      <pc:sldChg chg="modSp add mod ord modNotesTx">
        <pc:chgData name="Andreea Bunduc" userId="f7ddd4c3-0921-4c29-878a-c006ec77d69b" providerId="ADAL" clId="{C877C75A-BC54-4265-90B4-AF9CBA9A80D4}" dt="2021-03-22T11:52:19.564" v="16003" actId="20577"/>
        <pc:sldMkLst>
          <pc:docMk/>
          <pc:sldMk cId="791727592" sldId="2076137463"/>
        </pc:sldMkLst>
        <pc:spChg chg="mod">
          <ac:chgData name="Andreea Bunduc" userId="f7ddd4c3-0921-4c29-878a-c006ec77d69b" providerId="ADAL" clId="{C877C75A-BC54-4265-90B4-AF9CBA9A80D4}" dt="2021-03-16T08:20:58.551" v="11338"/>
          <ac:spMkLst>
            <pc:docMk/>
            <pc:sldMk cId="791727592" sldId="2076137463"/>
            <ac:spMk id="15" creationId="{BDD64BFD-7ED9-4476-ABC3-6BBAC4A275B2}"/>
          </ac:spMkLst>
        </pc:spChg>
        <pc:spChg chg="mod">
          <ac:chgData name="Andreea Bunduc" userId="f7ddd4c3-0921-4c29-878a-c006ec77d69b" providerId="ADAL" clId="{C877C75A-BC54-4265-90B4-AF9CBA9A80D4}" dt="2021-03-19T10:20:25.603" v="15595" actId="13926"/>
          <ac:spMkLst>
            <pc:docMk/>
            <pc:sldMk cId="791727592" sldId="2076137463"/>
            <ac:spMk id="20" creationId="{3EBF0E00-3491-407A-B77E-C8A241BBCFB3}"/>
          </ac:spMkLst>
        </pc:spChg>
      </pc:sldChg>
      <pc:sldChg chg="modSp add mod addCm delCm modCm modNotesTx">
        <pc:chgData name="Andreea Bunduc" userId="f7ddd4c3-0921-4c29-878a-c006ec77d69b" providerId="ADAL" clId="{C877C75A-BC54-4265-90B4-AF9CBA9A80D4}" dt="2021-03-19T10:52:54.996" v="15847" actId="20577"/>
        <pc:sldMkLst>
          <pc:docMk/>
          <pc:sldMk cId="1045128666" sldId="2076137464"/>
        </pc:sldMkLst>
        <pc:spChg chg="mod">
          <ac:chgData name="Andreea Bunduc" userId="f7ddd4c3-0921-4c29-878a-c006ec77d69b" providerId="ADAL" clId="{C877C75A-BC54-4265-90B4-AF9CBA9A80D4}" dt="2021-03-16T08:20:45.046" v="11337"/>
          <ac:spMkLst>
            <pc:docMk/>
            <pc:sldMk cId="1045128666" sldId="2076137464"/>
            <ac:spMk id="15" creationId="{BDD64BFD-7ED9-4476-ABC3-6BBAC4A275B2}"/>
          </ac:spMkLst>
        </pc:spChg>
        <pc:spChg chg="mod">
          <ac:chgData name="Andreea Bunduc" userId="f7ddd4c3-0921-4c29-878a-c006ec77d69b" providerId="ADAL" clId="{C877C75A-BC54-4265-90B4-AF9CBA9A80D4}" dt="2021-03-19T10:50:50.321" v="15841" actId="20577"/>
          <ac:spMkLst>
            <pc:docMk/>
            <pc:sldMk cId="1045128666" sldId="2076137464"/>
            <ac:spMk id="20" creationId="{3EBF0E00-3491-407A-B77E-C8A241BBCFB3}"/>
          </ac:spMkLst>
        </pc:spChg>
      </pc:sldChg>
      <pc:sldChg chg="modSp add mod addCm delCm modCm modNotesTx">
        <pc:chgData name="Andreea Bunduc" userId="f7ddd4c3-0921-4c29-878a-c006ec77d69b" providerId="ADAL" clId="{C877C75A-BC54-4265-90B4-AF9CBA9A80D4}" dt="2021-03-19T10:19:15.794" v="15583"/>
        <pc:sldMkLst>
          <pc:docMk/>
          <pc:sldMk cId="356062852" sldId="2076137465"/>
        </pc:sldMkLst>
        <pc:spChg chg="mod">
          <ac:chgData name="Andreea Bunduc" userId="f7ddd4c3-0921-4c29-878a-c006ec77d69b" providerId="ADAL" clId="{C877C75A-BC54-4265-90B4-AF9CBA9A80D4}" dt="2021-03-16T08:20:42.462" v="11336"/>
          <ac:spMkLst>
            <pc:docMk/>
            <pc:sldMk cId="356062852" sldId="2076137465"/>
            <ac:spMk id="15" creationId="{BDD64BFD-7ED9-4476-ABC3-6BBAC4A275B2}"/>
          </ac:spMkLst>
        </pc:spChg>
        <pc:spChg chg="mod">
          <ac:chgData name="Andreea Bunduc" userId="f7ddd4c3-0921-4c29-878a-c006ec77d69b" providerId="ADAL" clId="{C877C75A-BC54-4265-90B4-AF9CBA9A80D4}" dt="2021-03-19T10:17:40.992" v="15573" actId="13926"/>
          <ac:spMkLst>
            <pc:docMk/>
            <pc:sldMk cId="356062852" sldId="2076137465"/>
            <ac:spMk id="20" creationId="{3EBF0E00-3491-407A-B77E-C8A241BBCFB3}"/>
          </ac:spMkLst>
        </pc:spChg>
      </pc:sldChg>
      <pc:sldChg chg="addSp modSp add del mod modNotesTx">
        <pc:chgData name="Andreea Bunduc" userId="f7ddd4c3-0921-4c29-878a-c006ec77d69b" providerId="ADAL" clId="{C877C75A-BC54-4265-90B4-AF9CBA9A80D4}" dt="2021-03-19T10:23:01.314" v="15599" actId="2696"/>
        <pc:sldMkLst>
          <pc:docMk/>
          <pc:sldMk cId="1444316666" sldId="2076137466"/>
        </pc:sldMkLst>
        <pc:spChg chg="add mod">
          <ac:chgData name="Andreea Bunduc" userId="f7ddd4c3-0921-4c29-878a-c006ec77d69b" providerId="ADAL" clId="{C877C75A-BC54-4265-90B4-AF9CBA9A80D4}" dt="2021-03-16T16:16:58.498" v="14607" actId="20577"/>
          <ac:spMkLst>
            <pc:docMk/>
            <pc:sldMk cId="1444316666" sldId="2076137466"/>
            <ac:spMk id="10" creationId="{A79C5CA9-7697-4F2B-8249-635A08900AAC}"/>
          </ac:spMkLst>
        </pc:spChg>
        <pc:spChg chg="mod">
          <ac:chgData name="Andreea Bunduc" userId="f7ddd4c3-0921-4c29-878a-c006ec77d69b" providerId="ADAL" clId="{C877C75A-BC54-4265-90B4-AF9CBA9A80D4}" dt="2021-03-16T08:21:01.468" v="11339"/>
          <ac:spMkLst>
            <pc:docMk/>
            <pc:sldMk cId="1444316666" sldId="2076137466"/>
            <ac:spMk id="15" creationId="{BDD64BFD-7ED9-4476-ABC3-6BBAC4A275B2}"/>
          </ac:spMkLst>
        </pc:spChg>
        <pc:spChg chg="mod">
          <ac:chgData name="Andreea Bunduc" userId="f7ddd4c3-0921-4c29-878a-c006ec77d69b" providerId="ADAL" clId="{C877C75A-BC54-4265-90B4-AF9CBA9A80D4}" dt="2021-03-11T15:55:12.719" v="10548" actId="20577"/>
          <ac:spMkLst>
            <pc:docMk/>
            <pc:sldMk cId="1444316666" sldId="2076137466"/>
            <ac:spMk id="20" creationId="{3EBF0E00-3491-407A-B77E-C8A241BBCFB3}"/>
          </ac:spMkLst>
        </pc:spChg>
      </pc:sldChg>
      <pc:sldChg chg="addSp modSp add del mod modNotesTx">
        <pc:chgData name="Andreea Bunduc" userId="f7ddd4c3-0921-4c29-878a-c006ec77d69b" providerId="ADAL" clId="{C877C75A-BC54-4265-90B4-AF9CBA9A80D4}" dt="2021-03-19T10:23:03.639" v="15600" actId="2696"/>
        <pc:sldMkLst>
          <pc:docMk/>
          <pc:sldMk cId="3704140420" sldId="2076137467"/>
        </pc:sldMkLst>
        <pc:spChg chg="add mod">
          <ac:chgData name="Andreea Bunduc" userId="f7ddd4c3-0921-4c29-878a-c006ec77d69b" providerId="ADAL" clId="{C877C75A-BC54-4265-90B4-AF9CBA9A80D4}" dt="2021-03-16T16:17:18.303" v="14630" actId="20577"/>
          <ac:spMkLst>
            <pc:docMk/>
            <pc:sldMk cId="3704140420" sldId="2076137467"/>
            <ac:spMk id="10" creationId="{7E67F0FE-E09F-42E0-8335-C8EB754B7B48}"/>
          </ac:spMkLst>
        </pc:spChg>
        <pc:spChg chg="mod">
          <ac:chgData name="Andreea Bunduc" userId="f7ddd4c3-0921-4c29-878a-c006ec77d69b" providerId="ADAL" clId="{C877C75A-BC54-4265-90B4-AF9CBA9A80D4}" dt="2021-03-16T08:21:05.775" v="11340"/>
          <ac:spMkLst>
            <pc:docMk/>
            <pc:sldMk cId="3704140420" sldId="2076137467"/>
            <ac:spMk id="15" creationId="{BDD64BFD-7ED9-4476-ABC3-6BBAC4A275B2}"/>
          </ac:spMkLst>
        </pc:spChg>
        <pc:spChg chg="mod">
          <ac:chgData name="Andreea Bunduc" userId="f7ddd4c3-0921-4c29-878a-c006ec77d69b" providerId="ADAL" clId="{C877C75A-BC54-4265-90B4-AF9CBA9A80D4}" dt="2021-03-11T15:55:36.699" v="10549" actId="20577"/>
          <ac:spMkLst>
            <pc:docMk/>
            <pc:sldMk cId="3704140420" sldId="2076137467"/>
            <ac:spMk id="20" creationId="{3EBF0E00-3491-407A-B77E-C8A241BBCFB3}"/>
          </ac:spMkLst>
        </pc:spChg>
      </pc:sldChg>
      <pc:sldChg chg="del mod modShow addCm">
        <pc:chgData name="Andreea Bunduc" userId="f7ddd4c3-0921-4c29-878a-c006ec77d69b" providerId="ADAL" clId="{C877C75A-BC54-4265-90B4-AF9CBA9A80D4}" dt="2021-03-19T10:20:15" v="15594" actId="2696"/>
        <pc:sldMkLst>
          <pc:docMk/>
          <pc:sldMk cId="1571448589" sldId="2076137468"/>
        </pc:sldMkLst>
      </pc:sldChg>
      <pc:sldChg chg="del mod modShow addCm">
        <pc:chgData name="Andreea Bunduc" userId="f7ddd4c3-0921-4c29-878a-c006ec77d69b" providerId="ADAL" clId="{C877C75A-BC54-4265-90B4-AF9CBA9A80D4}" dt="2021-03-19T10:43:54.807" v="15781" actId="2696"/>
        <pc:sldMkLst>
          <pc:docMk/>
          <pc:sldMk cId="2036908209" sldId="2076137469"/>
        </pc:sldMkLst>
      </pc:sldChg>
      <pc:sldChg chg="del mod modShow addCm">
        <pc:chgData name="Andreea Bunduc" userId="f7ddd4c3-0921-4c29-878a-c006ec77d69b" providerId="ADAL" clId="{C877C75A-BC54-4265-90B4-AF9CBA9A80D4}" dt="2021-03-19T10:44:00.524" v="15782" actId="2696"/>
        <pc:sldMkLst>
          <pc:docMk/>
          <pc:sldMk cId="1869729563" sldId="2076137470"/>
        </pc:sldMkLst>
      </pc:sldChg>
      <pc:sldChg chg="del mod modShow modNotesTx">
        <pc:chgData name="Andreea Bunduc" userId="f7ddd4c3-0921-4c29-878a-c006ec77d69b" providerId="ADAL" clId="{C877C75A-BC54-4265-90B4-AF9CBA9A80D4}" dt="2021-03-19T10:46:15.519" v="15786" actId="2696"/>
        <pc:sldMkLst>
          <pc:docMk/>
          <pc:sldMk cId="1913370059" sldId="2076137471"/>
        </pc:sldMkLst>
      </pc:sldChg>
      <pc:sldChg chg="del mod modShow modNotesTx">
        <pc:chgData name="Andreea Bunduc" userId="f7ddd4c3-0921-4c29-878a-c006ec77d69b" providerId="ADAL" clId="{C877C75A-BC54-4265-90B4-AF9CBA9A80D4}" dt="2021-03-19T10:53:27.029" v="15850" actId="2696"/>
        <pc:sldMkLst>
          <pc:docMk/>
          <pc:sldMk cId="4122498021" sldId="2076137472"/>
        </pc:sldMkLst>
      </pc:sldChg>
      <pc:sldChg chg="del">
        <pc:chgData name="Andreea Bunduc" userId="f7ddd4c3-0921-4c29-878a-c006ec77d69b" providerId="ADAL" clId="{C877C75A-BC54-4265-90B4-AF9CBA9A80D4}" dt="2021-03-19T10:46:25.971" v="15789" actId="2696"/>
        <pc:sldMkLst>
          <pc:docMk/>
          <pc:sldMk cId="3702462964" sldId="2076137473"/>
        </pc:sldMkLst>
      </pc:sldChg>
      <pc:sldChg chg="modSp add mod modNotesTx">
        <pc:chgData name="Andreea Bunduc" userId="f7ddd4c3-0921-4c29-878a-c006ec77d69b" providerId="ADAL" clId="{C877C75A-BC54-4265-90B4-AF9CBA9A80D4}" dt="2021-03-19T10:17:29.180" v="15572" actId="20577"/>
        <pc:sldMkLst>
          <pc:docMk/>
          <pc:sldMk cId="4209219" sldId="2076137474"/>
        </pc:sldMkLst>
        <pc:spChg chg="mod">
          <ac:chgData name="Andreea Bunduc" userId="f7ddd4c3-0921-4c29-878a-c006ec77d69b" providerId="ADAL" clId="{C877C75A-BC54-4265-90B4-AF9CBA9A80D4}" dt="2021-03-16T08:20:16.755" v="11335" actId="20577"/>
          <ac:spMkLst>
            <pc:docMk/>
            <pc:sldMk cId="4209219" sldId="2076137474"/>
            <ac:spMk id="15" creationId="{BDD64BFD-7ED9-4476-ABC3-6BBAC4A275B2}"/>
          </ac:spMkLst>
        </pc:spChg>
        <pc:spChg chg="mod">
          <ac:chgData name="Andreea Bunduc" userId="f7ddd4c3-0921-4c29-878a-c006ec77d69b" providerId="ADAL" clId="{C877C75A-BC54-4265-90B4-AF9CBA9A80D4}" dt="2021-03-19T10:17:25.566" v="15571" actId="13926"/>
          <ac:spMkLst>
            <pc:docMk/>
            <pc:sldMk cId="4209219" sldId="2076137474"/>
            <ac:spMk id="20" creationId="{3EBF0E00-3491-407A-B77E-C8A241BBCFB3}"/>
          </ac:spMkLst>
        </pc:spChg>
      </pc:sldChg>
      <pc:sldChg chg="modSp add mod ord">
        <pc:chgData name="Andreea Bunduc" userId="f7ddd4c3-0921-4c29-878a-c006ec77d69b" providerId="ADAL" clId="{C877C75A-BC54-4265-90B4-AF9CBA9A80D4}" dt="2021-03-11T17:08:55.793" v="11320" actId="20577"/>
        <pc:sldMkLst>
          <pc:docMk/>
          <pc:sldMk cId="1624999497" sldId="2076137475"/>
        </pc:sldMkLst>
        <pc:spChg chg="mod">
          <ac:chgData name="Andreea Bunduc" userId="f7ddd4c3-0921-4c29-878a-c006ec77d69b" providerId="ADAL" clId="{C877C75A-BC54-4265-90B4-AF9CBA9A80D4}" dt="2021-03-11T17:08:55.793" v="11320" actId="20577"/>
          <ac:spMkLst>
            <pc:docMk/>
            <pc:sldMk cId="1624999497" sldId="2076137475"/>
            <ac:spMk id="3" creationId="{7BAA5C70-A028-4B6C-ABB0-6C80B40ABCDB}"/>
          </ac:spMkLst>
        </pc:spChg>
      </pc:sldChg>
      <pc:sldChg chg="delSp modSp add mod ord modNotesTx">
        <pc:chgData name="Andreea Bunduc" userId="f7ddd4c3-0921-4c29-878a-c006ec77d69b" providerId="ADAL" clId="{C877C75A-BC54-4265-90B4-AF9CBA9A80D4}" dt="2021-03-19T10:28:50.541" v="15743" actId="20577"/>
        <pc:sldMkLst>
          <pc:docMk/>
          <pc:sldMk cId="259656628" sldId="2076137476"/>
        </pc:sldMkLst>
        <pc:spChg chg="mod">
          <ac:chgData name="Andreea Bunduc" userId="f7ddd4c3-0921-4c29-878a-c006ec77d69b" providerId="ADAL" clId="{C877C75A-BC54-4265-90B4-AF9CBA9A80D4}" dt="2021-03-19T10:25:39.527" v="15649" actId="13926"/>
          <ac:spMkLst>
            <pc:docMk/>
            <pc:sldMk cId="259656628" sldId="2076137476"/>
            <ac:spMk id="10" creationId="{53EC6F74-4994-4365-BF20-3ACC76EB7EDA}"/>
          </ac:spMkLst>
        </pc:spChg>
        <pc:spChg chg="del">
          <ac:chgData name="Andreea Bunduc" userId="f7ddd4c3-0921-4c29-878a-c006ec77d69b" providerId="ADAL" clId="{C877C75A-BC54-4265-90B4-AF9CBA9A80D4}" dt="2021-03-16T10:10:40.919" v="11672" actId="478"/>
          <ac:spMkLst>
            <pc:docMk/>
            <pc:sldMk cId="259656628" sldId="2076137476"/>
            <ac:spMk id="12" creationId="{6D8BCE35-5C00-4E10-9F38-37A5EAF558D5}"/>
          </ac:spMkLst>
        </pc:spChg>
        <pc:spChg chg="mod">
          <ac:chgData name="Andreea Bunduc" userId="f7ddd4c3-0921-4c29-878a-c006ec77d69b" providerId="ADAL" clId="{C877C75A-BC54-4265-90B4-AF9CBA9A80D4}" dt="2021-03-19T10:28:50.541" v="15743" actId="20577"/>
          <ac:spMkLst>
            <pc:docMk/>
            <pc:sldMk cId="259656628" sldId="2076137476"/>
            <ac:spMk id="15" creationId="{BDD64BFD-7ED9-4476-ABC3-6BBAC4A275B2}"/>
          </ac:spMkLst>
        </pc:spChg>
        <pc:graphicFrameChg chg="del">
          <ac:chgData name="Andreea Bunduc" userId="f7ddd4c3-0921-4c29-878a-c006ec77d69b" providerId="ADAL" clId="{C877C75A-BC54-4265-90B4-AF9CBA9A80D4}" dt="2021-03-16T08:23:22.301" v="11415" actId="478"/>
          <ac:graphicFrameMkLst>
            <pc:docMk/>
            <pc:sldMk cId="259656628" sldId="2076137476"/>
            <ac:graphicFrameMk id="13" creationId="{A2C6ACAC-E2D3-48C2-B150-0CF526F6F667}"/>
          </ac:graphicFrameMkLst>
        </pc:graphicFrameChg>
        <pc:graphicFrameChg chg="del">
          <ac:chgData name="Andreea Bunduc" userId="f7ddd4c3-0921-4c29-878a-c006ec77d69b" providerId="ADAL" clId="{C877C75A-BC54-4265-90B4-AF9CBA9A80D4}" dt="2021-03-16T08:23:26.561" v="11416" actId="478"/>
          <ac:graphicFrameMkLst>
            <pc:docMk/>
            <pc:sldMk cId="259656628" sldId="2076137476"/>
            <ac:graphicFrameMk id="14" creationId="{CFF97147-54ED-4A92-8D56-C6323660B2D6}"/>
          </ac:graphicFrameMkLst>
        </pc:graphicFrameChg>
      </pc:sldChg>
      <pc:sldChg chg="modSp add del mod">
        <pc:chgData name="Andreea Bunduc" userId="f7ddd4c3-0921-4c29-878a-c006ec77d69b" providerId="ADAL" clId="{C877C75A-BC54-4265-90B4-AF9CBA9A80D4}" dt="2021-03-16T08:20:00.961" v="11332"/>
        <pc:sldMkLst>
          <pc:docMk/>
          <pc:sldMk cId="1812101511" sldId="2076137476"/>
        </pc:sldMkLst>
        <pc:spChg chg="mod">
          <ac:chgData name="Andreea Bunduc" userId="f7ddd4c3-0921-4c29-878a-c006ec77d69b" providerId="ADAL" clId="{C877C75A-BC54-4265-90B4-AF9CBA9A80D4}" dt="2021-03-16T08:20:00.165" v="11331"/>
          <ac:spMkLst>
            <pc:docMk/>
            <pc:sldMk cId="1812101511" sldId="2076137476"/>
            <ac:spMk id="2" creationId="{45010FE8-BF09-4146-B084-66CB05B66FD9}"/>
          </ac:spMkLst>
        </pc:spChg>
      </pc:sldChg>
      <pc:sldChg chg="addSp delSp modSp mod modNotesTx">
        <pc:chgData name="Andreea Bunduc" userId="f7ddd4c3-0921-4c29-878a-c006ec77d69b" providerId="ADAL" clId="{C877C75A-BC54-4265-90B4-AF9CBA9A80D4}" dt="2021-03-22T11:52:37.938" v="16010" actId="15"/>
        <pc:sldMkLst>
          <pc:docMk/>
          <pc:sldMk cId="3817739245" sldId="2076137477"/>
        </pc:sldMkLst>
        <pc:spChg chg="mod">
          <ac:chgData name="Andreea Bunduc" userId="f7ddd4c3-0921-4c29-878a-c006ec77d69b" providerId="ADAL" clId="{C877C75A-BC54-4265-90B4-AF9CBA9A80D4}" dt="2021-03-19T10:23:19.573" v="15602" actId="13926"/>
          <ac:spMkLst>
            <pc:docMk/>
            <pc:sldMk cId="3817739245" sldId="2076137477"/>
            <ac:spMk id="17" creationId="{2C9B9F55-6F5F-4EA9-8A4C-1F3078CCCEB7}"/>
          </ac:spMkLst>
        </pc:spChg>
        <pc:spChg chg="mod">
          <ac:chgData name="Andreea Bunduc" userId="f7ddd4c3-0921-4c29-878a-c006ec77d69b" providerId="ADAL" clId="{C877C75A-BC54-4265-90B4-AF9CBA9A80D4}" dt="2021-03-16T16:14:24.577" v="14533"/>
          <ac:spMkLst>
            <pc:docMk/>
            <pc:sldMk cId="3817739245" sldId="2076137477"/>
            <ac:spMk id="19" creationId="{14F1816E-0C6D-426A-8110-55CFD945804E}"/>
          </ac:spMkLst>
        </pc:spChg>
        <pc:spChg chg="del mod">
          <ac:chgData name="Andreea Bunduc" userId="f7ddd4c3-0921-4c29-878a-c006ec77d69b" providerId="ADAL" clId="{C877C75A-BC54-4265-90B4-AF9CBA9A80D4}" dt="2021-03-16T16:14:32.965" v="14536" actId="478"/>
          <ac:spMkLst>
            <pc:docMk/>
            <pc:sldMk cId="3817739245" sldId="2076137477"/>
            <ac:spMk id="20" creationId="{9C4A0BF9-E23F-4CFA-BFB9-1923DF03340F}"/>
          </ac:spMkLst>
        </pc:spChg>
        <pc:spChg chg="mod">
          <ac:chgData name="Andreea Bunduc" userId="f7ddd4c3-0921-4c29-878a-c006ec77d69b" providerId="ADAL" clId="{C877C75A-BC54-4265-90B4-AF9CBA9A80D4}" dt="2021-03-16T16:14:24.577" v="14533"/>
          <ac:spMkLst>
            <pc:docMk/>
            <pc:sldMk cId="3817739245" sldId="2076137477"/>
            <ac:spMk id="21" creationId="{82823A4D-AB09-414C-AE42-E0304D4E2A3D}"/>
          </ac:spMkLst>
        </pc:spChg>
        <pc:spChg chg="mod">
          <ac:chgData name="Andreea Bunduc" userId="f7ddd4c3-0921-4c29-878a-c006ec77d69b" providerId="ADAL" clId="{C877C75A-BC54-4265-90B4-AF9CBA9A80D4}" dt="2021-03-19T10:23:22.687" v="15603" actId="13926"/>
          <ac:spMkLst>
            <pc:docMk/>
            <pc:sldMk cId="3817739245" sldId="2076137477"/>
            <ac:spMk id="26" creationId="{060B385F-DDAB-4620-9658-189E6CCEF254}"/>
          </ac:spMkLst>
        </pc:spChg>
        <pc:spChg chg="mod">
          <ac:chgData name="Andreea Bunduc" userId="f7ddd4c3-0921-4c29-878a-c006ec77d69b" providerId="ADAL" clId="{C877C75A-BC54-4265-90B4-AF9CBA9A80D4}" dt="2021-03-16T16:16:02.951" v="14582" actId="20577"/>
          <ac:spMkLst>
            <pc:docMk/>
            <pc:sldMk cId="3817739245" sldId="2076137477"/>
            <ac:spMk id="46" creationId="{423E3344-0D3E-40C6-A30D-D9146C16FFD2}"/>
          </ac:spMkLst>
        </pc:spChg>
        <pc:spChg chg="mod">
          <ac:chgData name="Andreea Bunduc" userId="f7ddd4c3-0921-4c29-878a-c006ec77d69b" providerId="ADAL" clId="{C877C75A-BC54-4265-90B4-AF9CBA9A80D4}" dt="2021-03-16T16:16:08.341" v="14583" actId="20577"/>
          <ac:spMkLst>
            <pc:docMk/>
            <pc:sldMk cId="3817739245" sldId="2076137477"/>
            <ac:spMk id="47" creationId="{3153E1ED-F3FC-47BC-86FF-ABC256FF54B7}"/>
          </ac:spMkLst>
        </pc:spChg>
        <pc:grpChg chg="add mod">
          <ac:chgData name="Andreea Bunduc" userId="f7ddd4c3-0921-4c29-878a-c006ec77d69b" providerId="ADAL" clId="{C877C75A-BC54-4265-90B4-AF9CBA9A80D4}" dt="2021-03-16T16:14:39.743" v="14538" actId="1076"/>
          <ac:grpSpMkLst>
            <pc:docMk/>
            <pc:sldMk cId="3817739245" sldId="2076137477"/>
            <ac:grpSpMk id="15" creationId="{1A9DB559-0E07-4023-9E8A-661D4A2B89D6}"/>
          </ac:grpSpMkLst>
        </pc:grpChg>
        <pc:grpChg chg="mod">
          <ac:chgData name="Andreea Bunduc" userId="f7ddd4c3-0921-4c29-878a-c006ec77d69b" providerId="ADAL" clId="{C877C75A-BC54-4265-90B4-AF9CBA9A80D4}" dt="2021-03-16T16:14:24.577" v="14533"/>
          <ac:grpSpMkLst>
            <pc:docMk/>
            <pc:sldMk cId="3817739245" sldId="2076137477"/>
            <ac:grpSpMk id="18" creationId="{BD99D983-D0B6-4D81-BB7E-A181036FB776}"/>
          </ac:grpSpMkLst>
        </pc:grpChg>
        <pc:grpChg chg="del">
          <ac:chgData name="Andreea Bunduc" userId="f7ddd4c3-0921-4c29-878a-c006ec77d69b" providerId="ADAL" clId="{C877C75A-BC54-4265-90B4-AF9CBA9A80D4}" dt="2021-03-16T16:14:34.994" v="14537" actId="478"/>
          <ac:grpSpMkLst>
            <pc:docMk/>
            <pc:sldMk cId="3817739245" sldId="2076137477"/>
            <ac:grpSpMk id="22" creationId="{B97C69AB-A6F8-4AC0-AE4C-B9139D91F759}"/>
          </ac:grpSpMkLst>
        </pc:grpChg>
      </pc:sldChg>
      <pc:sldChg chg="addSp delSp modSp new del mod ord">
        <pc:chgData name="Andreea Bunduc" userId="f7ddd4c3-0921-4c29-878a-c006ec77d69b" providerId="ADAL" clId="{C877C75A-BC54-4265-90B4-AF9CBA9A80D4}" dt="2021-03-22T11:42:00.497" v="15977" actId="680"/>
        <pc:sldMkLst>
          <pc:docMk/>
          <pc:sldMk cId="1811724199" sldId="2076137478"/>
        </pc:sldMkLst>
        <pc:spChg chg="add del mod">
          <ac:chgData name="Andreea Bunduc" userId="f7ddd4c3-0921-4c29-878a-c006ec77d69b" providerId="ADAL" clId="{C877C75A-BC54-4265-90B4-AF9CBA9A80D4}" dt="2021-03-22T11:41:59.968" v="15976" actId="767"/>
          <ac:spMkLst>
            <pc:docMk/>
            <pc:sldMk cId="1811724199" sldId="2076137478"/>
            <ac:spMk id="3" creationId="{4216FBAF-88B0-4744-83E4-D65CF454A76E}"/>
          </ac:spMkLst>
        </pc:spChg>
      </pc:sldChg>
      <pc:sldMasterChg chg="delSldLayout">
        <pc:chgData name="Andreea Bunduc" userId="f7ddd4c3-0921-4c29-878a-c006ec77d69b" providerId="ADAL" clId="{C877C75A-BC54-4265-90B4-AF9CBA9A80D4}" dt="2021-03-11T17:11:57.934" v="11325" actId="2696"/>
        <pc:sldMasterMkLst>
          <pc:docMk/>
          <pc:sldMasterMk cId="3588427678" sldId="2147484229"/>
        </pc:sldMasterMkLst>
        <pc:sldLayoutChg chg="del">
          <pc:chgData name="Andreea Bunduc" userId="f7ddd4c3-0921-4c29-878a-c006ec77d69b" providerId="ADAL" clId="{C877C75A-BC54-4265-90B4-AF9CBA9A80D4}" dt="2021-03-11T17:11:57.934" v="11325" actId="2696"/>
          <pc:sldLayoutMkLst>
            <pc:docMk/>
            <pc:sldMasterMk cId="3588427678" sldId="2147484229"/>
            <pc:sldLayoutMk cId="3104418963" sldId="2147484978"/>
          </pc:sldLayoutMkLst>
        </pc:sldLayoutChg>
      </pc:sldMasterChg>
    </pc:docChg>
  </pc:docChgLst>
  <pc:docChgLst>
    <pc:chgData name="Andreea Bunduc" userId="f7ddd4c3-0921-4c29-878a-c006ec77d69b" providerId="ADAL" clId="{6FC5DE63-5685-4410-B45D-ABAD20463C92}"/>
    <pc:docChg chg="modSld">
      <pc:chgData name="Andreea Bunduc" userId="f7ddd4c3-0921-4c29-878a-c006ec77d69b" providerId="ADAL" clId="{6FC5DE63-5685-4410-B45D-ABAD20463C92}" dt="2021-06-02T08:20:10.064" v="1" actId="20577"/>
      <pc:docMkLst>
        <pc:docMk/>
      </pc:docMkLst>
      <pc:sldChg chg="modSp mod">
        <pc:chgData name="Andreea Bunduc" userId="f7ddd4c3-0921-4c29-878a-c006ec77d69b" providerId="ADAL" clId="{6FC5DE63-5685-4410-B45D-ABAD20463C92}" dt="2021-06-02T08:20:10.064" v="1" actId="20577"/>
        <pc:sldMkLst>
          <pc:docMk/>
          <pc:sldMk cId="1094870920" sldId="1735"/>
        </pc:sldMkLst>
        <pc:spChg chg="mod">
          <ac:chgData name="Andreea Bunduc" userId="f7ddd4c3-0921-4c29-878a-c006ec77d69b" providerId="ADAL" clId="{6FC5DE63-5685-4410-B45D-ABAD20463C92}" dt="2021-06-02T08:20:10.064" v="1" actId="20577"/>
          <ac:spMkLst>
            <pc:docMk/>
            <pc:sldMk cId="1094870920" sldId="1735"/>
            <ac:spMk id="103" creationId="{58D773B7-673F-419E-B0B9-B5B66FF34DCD}"/>
          </ac:spMkLst>
        </pc:spChg>
      </pc:sldChg>
      <pc:sldChg chg="modSp mod">
        <pc:chgData name="Andreea Bunduc" userId="f7ddd4c3-0921-4c29-878a-c006ec77d69b" providerId="ADAL" clId="{6FC5DE63-5685-4410-B45D-ABAD20463C92}" dt="2021-05-31T16:26:59.944" v="0" actId="14"/>
        <pc:sldMkLst>
          <pc:docMk/>
          <pc:sldMk cId="1045128666" sldId="2076137464"/>
        </pc:sldMkLst>
        <pc:spChg chg="mod">
          <ac:chgData name="Andreea Bunduc" userId="f7ddd4c3-0921-4c29-878a-c006ec77d69b" providerId="ADAL" clId="{6FC5DE63-5685-4410-B45D-ABAD20463C92}" dt="2021-05-31T16:26:59.944" v="0" actId="14"/>
          <ac:spMkLst>
            <pc:docMk/>
            <pc:sldMk cId="1045128666" sldId="2076137464"/>
            <ac:spMk id="20" creationId="{3EBF0E00-3491-407A-B77E-C8A241BBCFB3}"/>
          </ac:spMkLst>
        </pc:spChg>
      </pc:sldChg>
    </pc:docChg>
  </pc:docChgLst>
  <pc:docChgLst>
    <pc:chgData name="Andreea Bunduc" userId="f7ddd4c3-0921-4c29-878a-c006ec77d69b" providerId="ADAL" clId="{3A970917-84FE-45A9-96C5-5DD02E7BB465}"/>
    <pc:docChg chg="undo redo custSel modSld">
      <pc:chgData name="Andreea Bunduc" userId="f7ddd4c3-0921-4c29-878a-c006ec77d69b" providerId="ADAL" clId="{3A970917-84FE-45A9-96C5-5DD02E7BB465}" dt="2021-03-03T21:08:59.827" v="1593" actId="13926"/>
      <pc:docMkLst>
        <pc:docMk/>
      </pc:docMkLst>
      <pc:sldChg chg="addSp modSp mod">
        <pc:chgData name="Andreea Bunduc" userId="f7ddd4c3-0921-4c29-878a-c006ec77d69b" providerId="ADAL" clId="{3A970917-84FE-45A9-96C5-5DD02E7BB465}" dt="2021-03-03T21:07:31.677" v="1566" actId="13926"/>
        <pc:sldMkLst>
          <pc:docMk/>
          <pc:sldMk cId="1094870920" sldId="1735"/>
        </pc:sldMkLst>
        <pc:spChg chg="mod">
          <ac:chgData name="Andreea Bunduc" userId="f7ddd4c3-0921-4c29-878a-c006ec77d69b" providerId="ADAL" clId="{3A970917-84FE-45A9-96C5-5DD02E7BB465}" dt="2021-03-03T20:05:37.692" v="61" actId="13926"/>
          <ac:spMkLst>
            <pc:docMk/>
            <pc:sldMk cId="1094870920" sldId="1735"/>
            <ac:spMk id="2" creationId="{45010FE8-BF09-4146-B084-66CB05B66FD9}"/>
          </ac:spMkLst>
        </pc:spChg>
        <pc:spChg chg="mod">
          <ac:chgData name="Andreea Bunduc" userId="f7ddd4c3-0921-4c29-878a-c006ec77d69b" providerId="ADAL" clId="{3A970917-84FE-45A9-96C5-5DD02E7BB465}" dt="2021-03-03T21:07:31.677" v="1566" actId="13926"/>
          <ac:spMkLst>
            <pc:docMk/>
            <pc:sldMk cId="1094870920" sldId="1735"/>
            <ac:spMk id="41" creationId="{177907F9-2172-46A3-AEA0-8DD4122F217B}"/>
          </ac:spMkLst>
        </pc:spChg>
        <pc:spChg chg="mod">
          <ac:chgData name="Andreea Bunduc" userId="f7ddd4c3-0921-4c29-878a-c006ec77d69b" providerId="ADAL" clId="{3A970917-84FE-45A9-96C5-5DD02E7BB465}" dt="2021-03-03T20:38:07.659" v="1276" actId="20577"/>
          <ac:spMkLst>
            <pc:docMk/>
            <pc:sldMk cId="1094870920" sldId="1735"/>
            <ac:spMk id="55" creationId="{D909AFD3-772D-428E-8735-D3CC0F3F9928}"/>
          </ac:spMkLst>
        </pc:spChg>
        <pc:spChg chg="mod">
          <ac:chgData name="Andreea Bunduc" userId="f7ddd4c3-0921-4c29-878a-c006ec77d69b" providerId="ADAL" clId="{3A970917-84FE-45A9-96C5-5DD02E7BB465}" dt="2021-03-03T20:38:18.111" v="1299" actId="20577"/>
          <ac:spMkLst>
            <pc:docMk/>
            <pc:sldMk cId="1094870920" sldId="1735"/>
            <ac:spMk id="60" creationId="{1F0B6B51-41D8-4F93-878F-BACE5D1A7680}"/>
          </ac:spMkLst>
        </pc:spChg>
        <pc:spChg chg="mod">
          <ac:chgData name="Andreea Bunduc" userId="f7ddd4c3-0921-4c29-878a-c006ec77d69b" providerId="ADAL" clId="{3A970917-84FE-45A9-96C5-5DD02E7BB465}" dt="2021-03-03T20:38:26.776" v="1312" actId="20577"/>
          <ac:spMkLst>
            <pc:docMk/>
            <pc:sldMk cId="1094870920" sldId="1735"/>
            <ac:spMk id="65" creationId="{54341627-CD8C-4D9B-8381-28743BCFFBF1}"/>
          </ac:spMkLst>
        </pc:spChg>
        <pc:spChg chg="mod">
          <ac:chgData name="Andreea Bunduc" userId="f7ddd4c3-0921-4c29-878a-c006ec77d69b" providerId="ADAL" clId="{3A970917-84FE-45A9-96C5-5DD02E7BB465}" dt="2021-03-03T20:38:30.240" v="1319" actId="20577"/>
          <ac:spMkLst>
            <pc:docMk/>
            <pc:sldMk cId="1094870920" sldId="1735"/>
            <ac:spMk id="70" creationId="{1CE81B94-64B5-49BC-8A00-1B321C123F69}"/>
          </ac:spMkLst>
        </pc:spChg>
        <pc:spChg chg="mod">
          <ac:chgData name="Andreea Bunduc" userId="f7ddd4c3-0921-4c29-878a-c006ec77d69b" providerId="ADAL" clId="{3A970917-84FE-45A9-96C5-5DD02E7BB465}" dt="2021-03-03T20:32:40.637" v="1230" actId="20577"/>
          <ac:spMkLst>
            <pc:docMk/>
            <pc:sldMk cId="1094870920" sldId="1735"/>
            <ac:spMk id="85" creationId="{8DE2201B-869B-46E1-9DBD-5685B60F9033}"/>
          </ac:spMkLst>
        </pc:spChg>
        <pc:spChg chg="mod">
          <ac:chgData name="Andreea Bunduc" userId="f7ddd4c3-0921-4c29-878a-c006ec77d69b" providerId="ADAL" clId="{3A970917-84FE-45A9-96C5-5DD02E7BB465}" dt="2021-03-03T20:32:30.401" v="1200"/>
          <ac:spMkLst>
            <pc:docMk/>
            <pc:sldMk cId="1094870920" sldId="1735"/>
            <ac:spMk id="99" creationId="{644BA521-F0D0-4DC6-AD29-213C96584300}"/>
          </ac:spMkLst>
        </pc:spChg>
        <pc:spChg chg="mod">
          <ac:chgData name="Andreea Bunduc" userId="f7ddd4c3-0921-4c29-878a-c006ec77d69b" providerId="ADAL" clId="{3A970917-84FE-45A9-96C5-5DD02E7BB465}" dt="2021-03-03T20:28:39.582" v="869"/>
          <ac:spMkLst>
            <pc:docMk/>
            <pc:sldMk cId="1094870920" sldId="1735"/>
            <ac:spMk id="107" creationId="{F70ACBB0-4542-47BB-94A0-7D429E547C46}"/>
          </ac:spMkLst>
        </pc:spChg>
        <pc:spChg chg="mod">
          <ac:chgData name="Andreea Bunduc" userId="f7ddd4c3-0921-4c29-878a-c006ec77d69b" providerId="ADAL" clId="{3A970917-84FE-45A9-96C5-5DD02E7BB465}" dt="2021-03-03T20:39:24.410" v="1355" actId="20577"/>
          <ac:spMkLst>
            <pc:docMk/>
            <pc:sldMk cId="1094870920" sldId="1735"/>
            <ac:spMk id="109" creationId="{3E4DFA63-3F0D-487B-A03F-3BEC2E1DBE83}"/>
          </ac:spMkLst>
        </pc:spChg>
        <pc:spChg chg="mod">
          <ac:chgData name="Andreea Bunduc" userId="f7ddd4c3-0921-4c29-878a-c006ec77d69b" providerId="ADAL" clId="{3A970917-84FE-45A9-96C5-5DD02E7BB465}" dt="2021-03-03T20:28:39.582" v="869"/>
          <ac:spMkLst>
            <pc:docMk/>
            <pc:sldMk cId="1094870920" sldId="1735"/>
            <ac:spMk id="113" creationId="{40D29644-2494-42D8-B025-00182E128B14}"/>
          </ac:spMkLst>
        </pc:spChg>
        <pc:spChg chg="mod">
          <ac:chgData name="Andreea Bunduc" userId="f7ddd4c3-0921-4c29-878a-c006ec77d69b" providerId="ADAL" clId="{3A970917-84FE-45A9-96C5-5DD02E7BB465}" dt="2021-03-03T20:29:45.805" v="1010"/>
          <ac:spMkLst>
            <pc:docMk/>
            <pc:sldMk cId="1094870920" sldId="1735"/>
            <ac:spMk id="116" creationId="{6EEEBD21-8BB3-4F6E-B15F-82597B61D5C2}"/>
          </ac:spMkLst>
        </pc:spChg>
        <pc:spChg chg="mod">
          <ac:chgData name="Andreea Bunduc" userId="f7ddd4c3-0921-4c29-878a-c006ec77d69b" providerId="ADAL" clId="{3A970917-84FE-45A9-96C5-5DD02E7BB465}" dt="2021-03-03T20:29:45.805" v="1010"/>
          <ac:spMkLst>
            <pc:docMk/>
            <pc:sldMk cId="1094870920" sldId="1735"/>
            <ac:spMk id="118" creationId="{1998C48C-99B7-4506-AC65-C19BBA4FE4D1}"/>
          </ac:spMkLst>
        </pc:spChg>
        <pc:spChg chg="mod">
          <ac:chgData name="Andreea Bunduc" userId="f7ddd4c3-0921-4c29-878a-c006ec77d69b" providerId="ADAL" clId="{3A970917-84FE-45A9-96C5-5DD02E7BB465}" dt="2021-03-03T20:29:45.805" v="1010"/>
          <ac:spMkLst>
            <pc:docMk/>
            <pc:sldMk cId="1094870920" sldId="1735"/>
            <ac:spMk id="119" creationId="{20D0940B-BBC5-46A3-B2EE-1C6AD21714D9}"/>
          </ac:spMkLst>
        </pc:spChg>
        <pc:spChg chg="add mod">
          <ac:chgData name="Andreea Bunduc" userId="f7ddd4c3-0921-4c29-878a-c006ec77d69b" providerId="ADAL" clId="{3A970917-84FE-45A9-96C5-5DD02E7BB465}" dt="2021-03-03T20:38:42.319" v="1345" actId="20577"/>
          <ac:spMkLst>
            <pc:docMk/>
            <pc:sldMk cId="1094870920" sldId="1735"/>
            <ac:spMk id="120" creationId="{D55897CE-CD2C-40DF-8493-3CDDAF0599C3}"/>
          </ac:spMkLst>
        </pc:spChg>
        <pc:spChg chg="add mod">
          <ac:chgData name="Andreea Bunduc" userId="f7ddd4c3-0921-4c29-878a-c006ec77d69b" providerId="ADAL" clId="{3A970917-84FE-45A9-96C5-5DD02E7BB465}" dt="2021-03-03T20:38:33.695" v="1330" actId="20577"/>
          <ac:spMkLst>
            <pc:docMk/>
            <pc:sldMk cId="1094870920" sldId="1735"/>
            <ac:spMk id="121" creationId="{F797E6EC-13A3-491B-BA5C-14D7F712984D}"/>
          </ac:spMkLst>
        </pc:spChg>
        <pc:grpChg chg="mod">
          <ac:chgData name="Andreea Bunduc" userId="f7ddd4c3-0921-4c29-878a-c006ec77d69b" providerId="ADAL" clId="{3A970917-84FE-45A9-96C5-5DD02E7BB465}" dt="2021-03-03T20:25:08.265" v="462" actId="14100"/>
          <ac:grpSpMkLst>
            <pc:docMk/>
            <pc:sldMk cId="1094870920" sldId="1735"/>
            <ac:grpSpMk id="54" creationId="{E3151547-6629-4A30-85D7-9026BFEC7DB1}"/>
          </ac:grpSpMkLst>
        </pc:grpChg>
        <pc:grpChg chg="mod">
          <ac:chgData name="Andreea Bunduc" userId="f7ddd4c3-0921-4c29-878a-c006ec77d69b" providerId="ADAL" clId="{3A970917-84FE-45A9-96C5-5DD02E7BB465}" dt="2021-03-03T20:25:30.353" v="483" actId="1035"/>
          <ac:grpSpMkLst>
            <pc:docMk/>
            <pc:sldMk cId="1094870920" sldId="1735"/>
            <ac:grpSpMk id="59" creationId="{77ACF46A-463D-47C7-864A-28AF0D80B0C8}"/>
          </ac:grpSpMkLst>
        </pc:grpChg>
        <pc:grpChg chg="mod">
          <ac:chgData name="Andreea Bunduc" userId="f7ddd4c3-0921-4c29-878a-c006ec77d69b" providerId="ADAL" clId="{3A970917-84FE-45A9-96C5-5DD02E7BB465}" dt="2021-03-03T20:25:44.234" v="511" actId="1035"/>
          <ac:grpSpMkLst>
            <pc:docMk/>
            <pc:sldMk cId="1094870920" sldId="1735"/>
            <ac:grpSpMk id="64" creationId="{C25BF092-9D17-40D4-AEA1-85E84CD38EE6}"/>
          </ac:grpSpMkLst>
        </pc:grpChg>
        <pc:grpChg chg="mod">
          <ac:chgData name="Andreea Bunduc" userId="f7ddd4c3-0921-4c29-878a-c006ec77d69b" providerId="ADAL" clId="{3A970917-84FE-45A9-96C5-5DD02E7BB465}" dt="2021-03-03T20:26:16.861" v="555" actId="1035"/>
          <ac:grpSpMkLst>
            <pc:docMk/>
            <pc:sldMk cId="1094870920" sldId="1735"/>
            <ac:grpSpMk id="69" creationId="{199D9518-4245-48DA-AFDC-44848BB4C33A}"/>
          </ac:grpSpMkLst>
        </pc:grpChg>
        <pc:grpChg chg="mod">
          <ac:chgData name="Andreea Bunduc" userId="f7ddd4c3-0921-4c29-878a-c006ec77d69b" providerId="ADAL" clId="{3A970917-84FE-45A9-96C5-5DD02E7BB465}" dt="2021-03-03T20:26:40.131" v="611" actId="1035"/>
          <ac:grpSpMkLst>
            <pc:docMk/>
            <pc:sldMk cId="1094870920" sldId="1735"/>
            <ac:grpSpMk id="74" creationId="{50C4E2D5-ABEE-4F1C-8DF5-73DE5AC2F27A}"/>
          </ac:grpSpMkLst>
        </pc:grpChg>
        <pc:grpChg chg="mod">
          <ac:chgData name="Andreea Bunduc" userId="f7ddd4c3-0921-4c29-878a-c006ec77d69b" providerId="ADAL" clId="{3A970917-84FE-45A9-96C5-5DD02E7BB465}" dt="2021-03-03T20:27:07.076" v="674" actId="1035"/>
          <ac:grpSpMkLst>
            <pc:docMk/>
            <pc:sldMk cId="1094870920" sldId="1735"/>
            <ac:grpSpMk id="79" creationId="{00543721-9F23-4D2C-A13E-D93B984A9FDA}"/>
          </ac:grpSpMkLst>
        </pc:grpChg>
        <pc:grpChg chg="mod">
          <ac:chgData name="Andreea Bunduc" userId="f7ddd4c3-0921-4c29-878a-c006ec77d69b" providerId="ADAL" clId="{3A970917-84FE-45A9-96C5-5DD02E7BB465}" dt="2021-03-03T20:27:33.145" v="755" actId="1035"/>
          <ac:grpSpMkLst>
            <pc:docMk/>
            <pc:sldMk cId="1094870920" sldId="1735"/>
            <ac:grpSpMk id="84" creationId="{95831B84-1C17-4A14-9584-93D7C92B4AC9}"/>
          </ac:grpSpMkLst>
        </pc:grpChg>
        <pc:grpChg chg="add mod">
          <ac:chgData name="Andreea Bunduc" userId="f7ddd4c3-0921-4c29-878a-c006ec77d69b" providerId="ADAL" clId="{3A970917-84FE-45A9-96C5-5DD02E7BB465}" dt="2021-03-03T20:29:27.328" v="946" actId="1036"/>
          <ac:grpSpMkLst>
            <pc:docMk/>
            <pc:sldMk cId="1094870920" sldId="1735"/>
            <ac:grpSpMk id="98" creationId="{31B1E4F9-4C70-4D98-8B0E-1FCDC08712D4}"/>
          </ac:grpSpMkLst>
        </pc:grpChg>
        <pc:grpChg chg="mod">
          <ac:chgData name="Andreea Bunduc" userId="f7ddd4c3-0921-4c29-878a-c006ec77d69b" providerId="ADAL" clId="{3A970917-84FE-45A9-96C5-5DD02E7BB465}" dt="2021-03-03T20:28:39.582" v="869"/>
          <ac:grpSpMkLst>
            <pc:docMk/>
            <pc:sldMk cId="1094870920" sldId="1735"/>
            <ac:grpSpMk id="106" creationId="{951F3389-7AC0-4A17-8789-C4FFD49D558F}"/>
          </ac:grpSpMkLst>
        </pc:grpChg>
        <pc:grpChg chg="mod">
          <ac:chgData name="Andreea Bunduc" userId="f7ddd4c3-0921-4c29-878a-c006ec77d69b" providerId="ADAL" clId="{3A970917-84FE-45A9-96C5-5DD02E7BB465}" dt="2021-03-03T20:28:19.340" v="838" actId="1035"/>
          <ac:grpSpMkLst>
            <pc:docMk/>
            <pc:sldMk cId="1094870920" sldId="1735"/>
            <ac:grpSpMk id="108" creationId="{1968FCB1-4939-4B68-8DC9-516AB0B3F2DD}"/>
          </ac:grpSpMkLst>
        </pc:grpChg>
        <pc:grpChg chg="add mod">
          <ac:chgData name="Andreea Bunduc" userId="f7ddd4c3-0921-4c29-878a-c006ec77d69b" providerId="ADAL" clId="{3A970917-84FE-45A9-96C5-5DD02E7BB465}" dt="2021-03-03T20:30:00.820" v="1087" actId="1038"/>
          <ac:grpSpMkLst>
            <pc:docMk/>
            <pc:sldMk cId="1094870920" sldId="1735"/>
            <ac:grpSpMk id="115" creationId="{F7FC6DE4-A2AD-430F-A3FB-92CDFA680BD7}"/>
          </ac:grpSpMkLst>
        </pc:grpChg>
        <pc:grpChg chg="mod">
          <ac:chgData name="Andreea Bunduc" userId="f7ddd4c3-0921-4c29-878a-c006ec77d69b" providerId="ADAL" clId="{3A970917-84FE-45A9-96C5-5DD02E7BB465}" dt="2021-03-03T20:29:45.805" v="1010"/>
          <ac:grpSpMkLst>
            <pc:docMk/>
            <pc:sldMk cId="1094870920" sldId="1735"/>
            <ac:grpSpMk id="117" creationId="{1C0B0DA9-751C-4AC2-8E6C-289AFAD13682}"/>
          </ac:grpSpMkLst>
        </pc:grpChg>
        <pc:cxnChg chg="mod">
          <ac:chgData name="Andreea Bunduc" userId="f7ddd4c3-0921-4c29-878a-c006ec77d69b" providerId="ADAL" clId="{3A970917-84FE-45A9-96C5-5DD02E7BB465}" dt="2021-03-03T20:25:24.559" v="474" actId="1035"/>
          <ac:cxnSpMkLst>
            <pc:docMk/>
            <pc:sldMk cId="1094870920" sldId="1735"/>
            <ac:cxnSpMk id="46" creationId="{FB913BBF-6FE9-4291-9E49-F6769461052B}"/>
          </ac:cxnSpMkLst>
        </pc:cxnChg>
        <pc:cxnChg chg="mod">
          <ac:chgData name="Andreea Bunduc" userId="f7ddd4c3-0921-4c29-878a-c006ec77d69b" providerId="ADAL" clId="{3A970917-84FE-45A9-96C5-5DD02E7BB465}" dt="2021-03-03T20:25:38.241" v="497" actId="1035"/>
          <ac:cxnSpMkLst>
            <pc:docMk/>
            <pc:sldMk cId="1094870920" sldId="1735"/>
            <ac:cxnSpMk id="47" creationId="{C8DEDC1E-B9F9-418B-93EA-03CEE8A48BB4}"/>
          </ac:cxnSpMkLst>
        </pc:cxnChg>
        <pc:cxnChg chg="mod">
          <ac:chgData name="Andreea Bunduc" userId="f7ddd4c3-0921-4c29-878a-c006ec77d69b" providerId="ADAL" clId="{3A970917-84FE-45A9-96C5-5DD02E7BB465}" dt="2021-03-03T20:25:59.479" v="531" actId="1035"/>
          <ac:cxnSpMkLst>
            <pc:docMk/>
            <pc:sldMk cId="1094870920" sldId="1735"/>
            <ac:cxnSpMk id="48" creationId="{7354E8F2-26A2-4CCA-89B8-65B9B53DA07B}"/>
          </ac:cxnSpMkLst>
        </pc:cxnChg>
        <pc:cxnChg chg="mod">
          <ac:chgData name="Andreea Bunduc" userId="f7ddd4c3-0921-4c29-878a-c006ec77d69b" providerId="ADAL" clId="{3A970917-84FE-45A9-96C5-5DD02E7BB465}" dt="2021-03-03T20:26:31.888" v="584" actId="1035"/>
          <ac:cxnSpMkLst>
            <pc:docMk/>
            <pc:sldMk cId="1094870920" sldId="1735"/>
            <ac:cxnSpMk id="49" creationId="{F03F52E1-9D12-4CD8-9AFB-DF3694F8E8DF}"/>
          </ac:cxnSpMkLst>
        </pc:cxnChg>
        <pc:cxnChg chg="mod">
          <ac:chgData name="Andreea Bunduc" userId="f7ddd4c3-0921-4c29-878a-c006ec77d69b" providerId="ADAL" clId="{3A970917-84FE-45A9-96C5-5DD02E7BB465}" dt="2021-03-03T20:26:55.041" v="639" actId="1035"/>
          <ac:cxnSpMkLst>
            <pc:docMk/>
            <pc:sldMk cId="1094870920" sldId="1735"/>
            <ac:cxnSpMk id="52" creationId="{721FE680-81D2-484D-B86E-D8BCF74079FD}"/>
          </ac:cxnSpMkLst>
        </pc:cxnChg>
        <pc:cxnChg chg="mod">
          <ac:chgData name="Andreea Bunduc" userId="f7ddd4c3-0921-4c29-878a-c006ec77d69b" providerId="ADAL" clId="{3A970917-84FE-45A9-96C5-5DD02E7BB465}" dt="2021-03-03T20:28:00.958" v="765" actId="1035"/>
          <ac:cxnSpMkLst>
            <pc:docMk/>
            <pc:sldMk cId="1094870920" sldId="1735"/>
            <ac:cxnSpMk id="53" creationId="{76FF7EC1-B2EB-4DC5-B055-C580BB6B5166}"/>
          </ac:cxnSpMkLst>
        </pc:cxnChg>
        <pc:cxnChg chg="add mod">
          <ac:chgData name="Andreea Bunduc" userId="f7ddd4c3-0921-4c29-878a-c006ec77d69b" providerId="ADAL" clId="{3A970917-84FE-45A9-96C5-5DD02E7BB465}" dt="2021-03-03T20:27:21.089" v="714" actId="1035"/>
          <ac:cxnSpMkLst>
            <pc:docMk/>
            <pc:sldMk cId="1094870920" sldId="1735"/>
            <ac:cxnSpMk id="97" creationId="{DDFBF943-5D7E-4892-A923-900A720B72B9}"/>
          </ac:cxnSpMkLst>
        </pc:cxnChg>
        <pc:cxnChg chg="mod">
          <ac:chgData name="Andreea Bunduc" userId="f7ddd4c3-0921-4c29-878a-c006ec77d69b" providerId="ADAL" clId="{3A970917-84FE-45A9-96C5-5DD02E7BB465}" dt="2021-03-03T20:28:33.682" v="868" actId="1035"/>
          <ac:cxnSpMkLst>
            <pc:docMk/>
            <pc:sldMk cId="1094870920" sldId="1735"/>
            <ac:cxnSpMk id="105" creationId="{659FEA74-C3DC-4508-BE4F-3AF4CD4B39B4}"/>
          </ac:cxnSpMkLst>
        </pc:cxnChg>
        <pc:cxnChg chg="add mod">
          <ac:chgData name="Andreea Bunduc" userId="f7ddd4c3-0921-4c29-878a-c006ec77d69b" providerId="ADAL" clId="{3A970917-84FE-45A9-96C5-5DD02E7BB465}" dt="2021-03-03T20:29:41.743" v="1009" actId="1037"/>
          <ac:cxnSpMkLst>
            <pc:docMk/>
            <pc:sldMk cId="1094870920" sldId="1735"/>
            <ac:cxnSpMk id="114" creationId="{78B78F5D-D11A-4A92-A63F-98087733F901}"/>
          </ac:cxnSpMkLst>
        </pc:cxnChg>
      </pc:sldChg>
      <pc:sldChg chg="modSp mod">
        <pc:chgData name="Andreea Bunduc" userId="f7ddd4c3-0921-4c29-878a-c006ec77d69b" providerId="ADAL" clId="{3A970917-84FE-45A9-96C5-5DD02E7BB465}" dt="2021-03-03T21:08:59.827" v="1593" actId="13926"/>
        <pc:sldMkLst>
          <pc:docMk/>
          <pc:sldMk cId="2345068032" sldId="1786"/>
        </pc:sldMkLst>
        <pc:spChg chg="mod">
          <ac:chgData name="Andreea Bunduc" userId="f7ddd4c3-0921-4c29-878a-c006ec77d69b" providerId="ADAL" clId="{3A970917-84FE-45A9-96C5-5DD02E7BB465}" dt="2021-03-03T21:08:59.827" v="1593" actId="13926"/>
          <ac:spMkLst>
            <pc:docMk/>
            <pc:sldMk cId="2345068032" sldId="1786"/>
            <ac:spMk id="2" creationId="{45010FE8-BF09-4146-B084-66CB05B66FD9}"/>
          </ac:spMkLst>
        </pc:spChg>
      </pc:sldChg>
      <pc:sldChg chg="modSp mod">
        <pc:chgData name="Andreea Bunduc" userId="f7ddd4c3-0921-4c29-878a-c006ec77d69b" providerId="ADAL" clId="{3A970917-84FE-45A9-96C5-5DD02E7BB465}" dt="2021-03-03T21:06:00.009" v="1445" actId="1076"/>
        <pc:sldMkLst>
          <pc:docMk/>
          <pc:sldMk cId="3003001123" sldId="2112"/>
        </pc:sldMkLst>
        <pc:spChg chg="mod">
          <ac:chgData name="Andreea Bunduc" userId="f7ddd4c3-0921-4c29-878a-c006ec77d69b" providerId="ADAL" clId="{3A970917-84FE-45A9-96C5-5DD02E7BB465}" dt="2021-03-03T21:06:00.009" v="1445" actId="1076"/>
          <ac:spMkLst>
            <pc:docMk/>
            <pc:sldMk cId="3003001123" sldId="2112"/>
            <ac:spMk id="6" creationId="{726D6336-8A35-4EC7-A7C7-9236CD068886}"/>
          </ac:spMkLst>
        </pc:spChg>
      </pc:sldChg>
    </pc:docChg>
  </pc:docChgLst>
  <pc:docChgLst>
    <pc:chgData name="Andreea Bunduc" userId="S::abunduc@microsoft.com::f7ddd4c3-0921-4c29-878a-c006ec77d69b" providerId="AD" clId="Web-{6A1C033B-82E4-46B3-EB60-8684D3F978DA}"/>
    <pc:docChg chg="modSld">
      <pc:chgData name="Andreea Bunduc" userId="S::abunduc@microsoft.com::f7ddd4c3-0921-4c29-878a-c006ec77d69b" providerId="AD" clId="Web-{6A1C033B-82E4-46B3-EB60-8684D3F978DA}" dt="2021-03-04T19:52:45.713" v="40" actId="20577"/>
      <pc:docMkLst>
        <pc:docMk/>
      </pc:docMkLst>
      <pc:sldChg chg="modSp">
        <pc:chgData name="Andreea Bunduc" userId="S::abunduc@microsoft.com::f7ddd4c3-0921-4c29-878a-c006ec77d69b" providerId="AD" clId="Web-{6A1C033B-82E4-46B3-EB60-8684D3F978DA}" dt="2021-03-04T19:52:45.713" v="40" actId="20577"/>
        <pc:sldMkLst>
          <pc:docMk/>
          <pc:sldMk cId="1094870920" sldId="1735"/>
        </pc:sldMkLst>
        <pc:spChg chg="mod">
          <ac:chgData name="Andreea Bunduc" userId="S::abunduc@microsoft.com::f7ddd4c3-0921-4c29-878a-c006ec77d69b" providerId="AD" clId="Web-{6A1C033B-82E4-46B3-EB60-8684D3F978DA}" dt="2021-03-04T19:52:45.713" v="40" actId="20577"/>
          <ac:spMkLst>
            <pc:docMk/>
            <pc:sldMk cId="1094870920" sldId="1735"/>
            <ac:spMk id="41" creationId="{177907F9-2172-46A3-AEA0-8DD4122F217B}"/>
          </ac:spMkLst>
        </pc:spChg>
        <pc:spChg chg="mod">
          <ac:chgData name="Andreea Bunduc" userId="S::abunduc@microsoft.com::f7ddd4c3-0921-4c29-878a-c006ec77d69b" providerId="AD" clId="Web-{6A1C033B-82E4-46B3-EB60-8684D3F978DA}" dt="2021-03-04T19:50:35.242" v="13" actId="20577"/>
          <ac:spMkLst>
            <pc:docMk/>
            <pc:sldMk cId="1094870920" sldId="1735"/>
            <ac:spMk id="85" creationId="{8DE2201B-869B-46E1-9DBD-5685B60F9033}"/>
          </ac:spMkLst>
        </pc:spChg>
        <pc:spChg chg="mod">
          <ac:chgData name="Andreea Bunduc" userId="S::abunduc@microsoft.com::f7ddd4c3-0921-4c29-878a-c006ec77d69b" providerId="AD" clId="Web-{6A1C033B-82E4-46B3-EB60-8684D3F978DA}" dt="2021-03-04T19:50:27.523" v="3" actId="20577"/>
          <ac:spMkLst>
            <pc:docMk/>
            <pc:sldMk cId="1094870920" sldId="1735"/>
            <ac:spMk id="109" creationId="{3E4DFA63-3F0D-487B-A03F-3BEC2E1DBE83}"/>
          </ac:spMkLst>
        </pc:spChg>
        <pc:spChg chg="mod">
          <ac:chgData name="Andreea Bunduc" userId="S::abunduc@microsoft.com::f7ddd4c3-0921-4c29-878a-c006ec77d69b" providerId="AD" clId="Web-{6A1C033B-82E4-46B3-EB60-8684D3F978DA}" dt="2021-03-04T19:50:45.039" v="31" actId="20577"/>
          <ac:spMkLst>
            <pc:docMk/>
            <pc:sldMk cId="1094870920" sldId="1735"/>
            <ac:spMk id="120" creationId="{D55897CE-CD2C-40DF-8493-3CDDAF0599C3}"/>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7/8/2021 3:30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7/8/2021 1:59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community.dynamics.com/365/b/techtalks/posts/environment-planning-for-finance-and-operations-implementations-october-19-2020"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docs.microsoft.com/en-us/dynamics365/fin-ops-core/fin-ops/imp-lifecycle/environment-planning"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community.dynamics.com/365/b/techtalks/posts/go-live-planning-8-9-18"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dynamics365/fin-ops-core/dev-itpro/sysadmin/optimize-data-migration" TargetMode="External"/><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https://docs.microsoft.com/en-us/learn/modules/data-migration/2-power-platform-dynamics-365" TargetMode="External"/><Relationship Id="rId4" Type="http://schemas.openxmlformats.org/officeDocument/2006/relationships/hyperlink" Target="https://community.dynamics.com/365/b/techtalks/posts/finance-and-operations-performance-key-patterns-and-anti-patterns-for-dynamics-365-1-15-19"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community.dynamics.com/365/b/techtalks/posts/dynamics-365-finance-scm-data-management-february-14-2020"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community.dynamics.com/365/b/techtalks/posts/data-migration-january-16-2018"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8/2021 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864755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dirty="0"/>
              <a:t>Why are we asking this information?</a:t>
            </a:r>
          </a:p>
          <a:p>
            <a:pPr marL="171450" indent="-171450">
              <a:buFont typeface="Arial" panose="020B0604020202020204" pitchFamily="34" charset="0"/>
              <a:buChar char="•"/>
            </a:pPr>
            <a:r>
              <a:rPr lang="en-US" dirty="0"/>
              <a:t>We want to validate that the environments involved in the data migration activities have been identified and a proper plan is defined for them.</a:t>
            </a:r>
          </a:p>
          <a:p>
            <a:pPr marL="0" marR="0" lvl="0" indent="0" algn="l" defTabSz="914400" rtl="0" eaLnBrk="1" fontAlgn="auto" latinLnBrk="0" hangingPunct="1">
              <a:lnSpc>
                <a:spcPct val="100000"/>
              </a:lnSpc>
              <a:spcBef>
                <a:spcPts val="0"/>
              </a:spcBef>
              <a:spcAft>
                <a:spcPts val="0"/>
              </a:spcAft>
              <a:buClrTx/>
              <a:buSzTx/>
              <a:buFontTx/>
              <a:buNone/>
              <a:tabLst/>
              <a:defRPr/>
            </a:pPr>
            <a:r>
              <a:rPr lang="pt-PT" dirty="0"/>
              <a:t>=========================</a:t>
            </a:r>
          </a:p>
          <a:p>
            <a:r>
              <a:rPr lang="pt-PT" b="1" dirty="0"/>
              <a:t>What to include?</a:t>
            </a:r>
            <a:endParaRPr lang="en-US" noProof="0" dirty="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What environments do you plan to utilize for data migration activities? Include here source and target environments, staging and testing environments as well.</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Environment planning that clearly defines when these environment will be made available and when will they become obsolete.</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Assessments to define if the environments are sufficient, from a performance point of view.</a:t>
            </a:r>
          </a:p>
          <a:p>
            <a:r>
              <a:rPr lang="en-US" noProof="0" dirty="0"/>
              <a:t>=========================</a:t>
            </a:r>
          </a:p>
          <a:p>
            <a:pPr algn="l" rtl="0" fontAlgn="base"/>
            <a:r>
              <a:rPr lang="en-US" sz="900" b="1" i="0" u="none" strike="noStrike" dirty="0">
                <a:solidFill>
                  <a:srgbClr val="000000"/>
                </a:solidFill>
                <a:effectLst/>
                <a:latin typeface="Segoe UI" panose="020B0502040204020203" pitchFamily="34" charset="0"/>
              </a:rPr>
              <a:t>Resources:</a:t>
            </a:r>
            <a:r>
              <a:rPr lang="en-US" sz="900" b="0" i="0" dirty="0">
                <a:solidFill>
                  <a:srgbClr val="444444"/>
                </a:solidFill>
                <a:effectLst/>
                <a:latin typeface="Segoe UI" panose="020B0502040204020203" pitchFamily="34" charset="0"/>
              </a:rPr>
              <a:t>​</a:t>
            </a:r>
            <a:endParaRPr lang="en-US" b="0" i="0" dirty="0">
              <a:solidFill>
                <a:srgbClr val="444444"/>
              </a:solidFill>
              <a:effectLst/>
              <a:latin typeface="Calibri" panose="020F0502020204030204" pitchFamily="34" charset="0"/>
            </a:endParaRPr>
          </a:p>
          <a:p>
            <a:pPr algn="l" rtl="0" fontAlgn="base">
              <a:buFont typeface="Arial" panose="020B0604020202020204" pitchFamily="34" charset="0"/>
              <a:buChar char="•"/>
            </a:pPr>
            <a:r>
              <a:rPr lang="en-US" sz="900" b="0" i="0" u="sng" strike="noStrike" dirty="0">
                <a:solidFill>
                  <a:srgbClr val="1392B3"/>
                </a:solidFill>
                <a:effectLst/>
                <a:latin typeface="Segoe UI" panose="020B0502040204020203" pitchFamily="34" charset="0"/>
                <a:hlinkClick r:id="rId3"/>
              </a:rPr>
              <a:t>Environment Planning for Finance and Operations Implementations | October 19, 2020 - Microsoft Dynamics Blog</a:t>
            </a:r>
            <a:r>
              <a:rPr lang="en-US" sz="900" b="0" i="0" dirty="0">
                <a:solidFill>
                  <a:srgbClr val="444444"/>
                </a:solidFill>
                <a:effectLst/>
                <a:latin typeface="Segoe UI" panose="020B0502040204020203" pitchFamily="34" charset="0"/>
              </a:rPr>
              <a:t>​</a:t>
            </a:r>
            <a:endParaRPr lang="en-US" sz="300" b="0" i="0" dirty="0">
              <a:solidFill>
                <a:srgbClr val="444444"/>
              </a:solidFill>
              <a:effectLst/>
              <a:latin typeface="Arial" panose="020B0604020202020204" pitchFamily="34" charset="0"/>
            </a:endParaRPr>
          </a:p>
          <a:p>
            <a:pPr lvl="1" algn="l" rtl="0" fontAlgn="base">
              <a:buFont typeface="Arial" panose="020B0604020202020204" pitchFamily="34" charset="0"/>
              <a:buChar char="•"/>
            </a:pPr>
            <a:r>
              <a:rPr lang="en-US" sz="900" b="0" i="0" u="none" strike="noStrike" dirty="0">
                <a:solidFill>
                  <a:srgbClr val="000000"/>
                </a:solidFill>
                <a:effectLst/>
                <a:latin typeface="Segoe UI" panose="020B0502040204020203" pitchFamily="34" charset="0"/>
              </a:rPr>
              <a:t>https://community.dynamics.com/365/b/techtalks/posts/environment-planning-for-finance-and-operations-implementations-october-19-2020</a:t>
            </a:r>
            <a:r>
              <a:rPr lang="en-US" sz="900" b="0" i="0" dirty="0">
                <a:solidFill>
                  <a:srgbClr val="444444"/>
                </a:solidFill>
                <a:effectLst/>
                <a:latin typeface="Segoe UI" panose="020B0502040204020203" pitchFamily="34" charset="0"/>
              </a:rPr>
              <a:t>​</a:t>
            </a:r>
            <a:endParaRPr lang="en-US" sz="3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900" b="0" i="0" u="sng" strike="noStrike" dirty="0">
                <a:solidFill>
                  <a:srgbClr val="1392B3"/>
                </a:solidFill>
                <a:effectLst/>
                <a:latin typeface="Segoe UI" panose="020B0502040204020203" pitchFamily="34" charset="0"/>
                <a:hlinkClick r:id="rId4"/>
              </a:rPr>
              <a:t>Environment planning - Finance &amp; Operations | Dynamics 365 | Microsoft Docs</a:t>
            </a:r>
            <a:r>
              <a:rPr lang="en-US" sz="900" b="0" i="0" dirty="0">
                <a:solidFill>
                  <a:srgbClr val="444444"/>
                </a:solidFill>
                <a:effectLst/>
                <a:latin typeface="Segoe UI" panose="020B0502040204020203" pitchFamily="34" charset="0"/>
              </a:rPr>
              <a:t>​</a:t>
            </a:r>
            <a:endParaRPr lang="en-US" sz="300" b="0" i="0" dirty="0">
              <a:solidFill>
                <a:srgbClr val="444444"/>
              </a:solidFill>
              <a:effectLst/>
              <a:latin typeface="Arial" panose="020B0604020202020204" pitchFamily="34" charset="0"/>
            </a:endParaRPr>
          </a:p>
          <a:p>
            <a:pPr marL="212725" lvl="1" indent="-105410" algn="l" rtl="0" fontAlgn="base">
              <a:buFont typeface="Arial" panose="020B0604020202020204" pitchFamily="34" charset="0"/>
              <a:buChar char="•"/>
            </a:pPr>
            <a:r>
              <a:rPr lang="en-US" sz="900" b="0" i="0" u="none" strike="noStrike">
                <a:solidFill>
                  <a:srgbClr val="000000"/>
                </a:solidFill>
                <a:effectLst/>
                <a:latin typeface="Segoe UI"/>
                <a:cs typeface="Segoe UI"/>
                <a:hlinkClick r:id="rId4"/>
              </a:rPr>
              <a:t>https://docs.microsoft.com/en-us/dynamics365/fin-ops-core/fin-ops/imp-lifecycle/environment-planning</a:t>
            </a:r>
            <a:endParaRPr lang="en-US" sz="300" b="0" i="0" u="none" strike="noStrike">
              <a:solidFill>
                <a:srgbClr val="444444"/>
              </a:solidFill>
              <a:effectLst/>
              <a:latin typeface="Arial" panose="020B0604020202020204" pitchFamily="34" charset="0"/>
              <a:cs typeface="Arial" panose="020B0604020202020204" pitchFamily="34" charset="0"/>
            </a:endParaRPr>
          </a:p>
          <a:p>
            <a:pPr marL="107315" lvl="1" indent="0">
              <a:buNone/>
            </a:pPr>
            <a:endParaRPr lang="en-US" sz="850">
              <a:solidFill>
                <a:srgbClr val="000000"/>
              </a:solidFill>
              <a:latin typeface="Segoe UI"/>
              <a:cs typeface="Segoe UI"/>
            </a:endParaRPr>
          </a:p>
        </p:txBody>
      </p:sp>
      <p:sp>
        <p:nvSpPr>
          <p:cNvPr id="4" name="Slide Number Placeholder 3"/>
          <p:cNvSpPr>
            <a:spLocks noGrp="1"/>
          </p:cNvSpPr>
          <p:nvPr>
            <p:ph type="sldNum" sz="quarter" idx="5"/>
          </p:nvPr>
        </p:nvSpPr>
        <p:spPr/>
        <p:txBody>
          <a:bodyPr/>
          <a:lstStyle/>
          <a:p>
            <a:fld id="{820133BD-6629-D245-9461-799999F1C98F}" type="slidenum">
              <a:rPr lang="en-US" smtClean="0"/>
              <a:t>11</a:t>
            </a:fld>
            <a:endParaRPr lang="en-US"/>
          </a:p>
        </p:txBody>
      </p:sp>
    </p:spTree>
    <p:extLst>
      <p:ext uri="{BB962C8B-B14F-4D97-AF65-F5344CB8AC3E}">
        <p14:creationId xmlns:p14="http://schemas.microsoft.com/office/powerpoint/2010/main" val="2551171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dirty="0"/>
              <a:t>Why are we asking this information?</a:t>
            </a:r>
          </a:p>
          <a:p>
            <a:pPr marL="171450" indent="-171450">
              <a:buFont typeface="Arial" panose="020B0604020202020204" pitchFamily="34" charset="0"/>
              <a:buChar char="•"/>
            </a:pPr>
            <a:r>
              <a:rPr lang="en-US" dirty="0"/>
              <a:t>We want to validate that the </a:t>
            </a:r>
            <a:r>
              <a:rPr lang="en-US"/>
              <a:t>Go-live</a:t>
            </a:r>
            <a:r>
              <a:rPr lang="en-US" dirty="0"/>
              <a:t> and post </a:t>
            </a:r>
            <a:r>
              <a:rPr lang="en-US"/>
              <a:t>Go-live</a:t>
            </a:r>
            <a:r>
              <a:rPr lang="en-US" dirty="0"/>
              <a:t> strategies have been considered and planned.</a:t>
            </a:r>
          </a:p>
          <a:p>
            <a:pPr marL="0" marR="0" lvl="0" indent="0" algn="l" defTabSz="914400" rtl="0" eaLnBrk="1" fontAlgn="auto" latinLnBrk="0" hangingPunct="1">
              <a:lnSpc>
                <a:spcPct val="100000"/>
              </a:lnSpc>
              <a:spcBef>
                <a:spcPts val="0"/>
              </a:spcBef>
              <a:spcAft>
                <a:spcPts val="0"/>
              </a:spcAft>
              <a:buClrTx/>
              <a:buSzTx/>
              <a:buFontTx/>
              <a:buNone/>
              <a:tabLst/>
              <a:defRPr/>
            </a:pPr>
            <a:r>
              <a:rPr lang="pt-PT" dirty="0"/>
              <a:t>=========================</a:t>
            </a:r>
          </a:p>
          <a:p>
            <a:r>
              <a:rPr lang="pt-PT" b="1" dirty="0"/>
              <a:t>What to include?</a:t>
            </a:r>
            <a:endParaRPr lang="en-US" noProof="0" dirty="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Information about the Cutover plan and the Mock </a:t>
            </a:r>
            <a:r>
              <a:rPr lang="en-US" noProof="0"/>
              <a:t>Go-live</a:t>
            </a:r>
            <a:r>
              <a:rPr lang="en-US" noProof="0" dirty="0"/>
              <a:t>, including time frame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How will the data be tested before </a:t>
            </a:r>
            <a:r>
              <a:rPr lang="en-US" noProof="0"/>
              <a:t>Go-live</a:t>
            </a:r>
            <a:r>
              <a:rPr lang="en-US" noProof="0" dirty="0"/>
              <a:t>?</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Details about how you plan to handle data migration activities after </a:t>
            </a:r>
            <a:r>
              <a:rPr lang="en-US" noProof="0"/>
              <a:t>Go-live</a:t>
            </a:r>
            <a:r>
              <a:rPr lang="en-US" noProof="0" dirty="0"/>
              <a:t>. Include details about a subsequent </a:t>
            </a:r>
            <a:r>
              <a:rPr lang="en-US" noProof="0"/>
              <a:t>Go-live</a:t>
            </a:r>
            <a:r>
              <a:rPr lang="en-US" noProof="0" dirty="0"/>
              <a:t>, if applicable.</a:t>
            </a:r>
          </a:p>
          <a:p>
            <a:r>
              <a:rPr lang="en-US" noProof="0" dirty="0"/>
              <a:t>=========================</a:t>
            </a:r>
          </a:p>
          <a:p>
            <a:pPr marL="0" indent="0">
              <a:buFont typeface="Arial" panose="020B0604020202020204" pitchFamily="34" charset="0"/>
              <a:buNone/>
            </a:pPr>
            <a:r>
              <a:rPr lang="en-US" b="1" noProof="0" dirty="0"/>
              <a:t>Resources:</a:t>
            </a:r>
          </a:p>
          <a:p>
            <a:pPr marL="171450" indent="-171450">
              <a:buFont typeface="Arial" panose="020B0604020202020204" pitchFamily="34" charset="0"/>
              <a:buChar char="•"/>
            </a:pPr>
            <a:r>
              <a:rPr lang="en-US">
                <a:hlinkClick r:id="rId3"/>
              </a:rPr>
              <a:t>Go-live</a:t>
            </a:r>
            <a:r>
              <a:rPr lang="en-US" dirty="0">
                <a:hlinkClick r:id="rId3"/>
              </a:rPr>
              <a:t> Planning | August 9, 2018 - Microsoft Dynamics Blog</a:t>
            </a:r>
            <a:endParaRPr lang="en-US" dirty="0"/>
          </a:p>
          <a:p>
            <a:pPr lvl="1" algn="l" rtl="0" fontAlgn="base">
              <a:buFont typeface="Arial" panose="020B0604020202020204" pitchFamily="34" charset="0"/>
              <a:buChar char="•"/>
            </a:pPr>
            <a:r>
              <a:rPr lang="en-US" sz="1800" b="0" i="0" u="none" strike="noStrike" dirty="0">
                <a:solidFill>
                  <a:srgbClr val="000000"/>
                </a:solidFill>
                <a:effectLst/>
                <a:latin typeface="Segoe UI" panose="020B0502040204020203" pitchFamily="34" charset="0"/>
              </a:rPr>
              <a:t>https://community.dynamics.com/365/b/techtalks/posts/go-live-planning-8-9-18</a:t>
            </a:r>
            <a:r>
              <a:rPr lang="en-US" sz="1800" b="0" i="0" dirty="0">
                <a:solidFill>
                  <a:srgbClr val="444444"/>
                </a:solidFill>
                <a:effectLst/>
                <a:latin typeface="Segoe UI" panose="020B0502040204020203" pitchFamily="34" charset="0"/>
              </a:rPr>
              <a:t>​</a:t>
            </a:r>
            <a:endParaRPr lang="en-US" sz="1800" b="0" i="0" dirty="0">
              <a:solidFill>
                <a:srgbClr val="444444"/>
              </a:solidFill>
              <a:effectLst/>
              <a:latin typeface="Arial" panose="020B0604020202020204" pitchFamily="34" charset="0"/>
            </a:endParaRPr>
          </a:p>
          <a:p>
            <a:br>
              <a:rPr lang="en-US" b="0" i="0" dirty="0">
                <a:solidFill>
                  <a:srgbClr val="444444"/>
                </a:solidFill>
                <a:effectLst/>
                <a:latin typeface="Arial" panose="020B0604020202020204" pitchFamily="34" charset="0"/>
              </a:rPr>
            </a:br>
            <a:endParaRPr lang="en-US" b="1" noProof="0" dirty="0"/>
          </a:p>
          <a:p>
            <a:endParaRPr lang="pt-PT"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27208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a:t>Why are we asking this information?</a:t>
            </a:r>
          </a:p>
          <a:p>
            <a:pPr marL="171450" indent="-171450">
              <a:buFont typeface="Arial" panose="020B0604020202020204" pitchFamily="34" charset="0"/>
              <a:buChar char="•"/>
            </a:pPr>
            <a:r>
              <a:rPr lang="en-US"/>
              <a:t>We want to validate that the volume of data being migrated has been assessed.</a:t>
            </a:r>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endParaRPr lang="en-US" noProof="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The updated Solution Blueprint Template document (</a:t>
            </a:r>
            <a:r>
              <a:rPr lang="en-US" noProof="0" dirty="0"/>
              <a:t>Excel </a:t>
            </a:r>
            <a:r>
              <a:rPr lang="en-US" noProof="0"/>
              <a:t>file</a:t>
            </a:r>
            <a:r>
              <a:rPr lang="en-US" noProof="0" dirty="0"/>
              <a:t>).</a:t>
            </a:r>
            <a:endParaRPr lang="en-US" noProof="0"/>
          </a:p>
          <a:p>
            <a:r>
              <a:rPr lang="en-US" noProof="0"/>
              <a:t>=========================</a:t>
            </a:r>
            <a:endParaRPr lang="en-US" noProof="0" dirty="0"/>
          </a:p>
        </p:txBody>
      </p:sp>
      <p:sp>
        <p:nvSpPr>
          <p:cNvPr id="4" name="Slide Number Placeholder 3"/>
          <p:cNvSpPr>
            <a:spLocks noGrp="1"/>
          </p:cNvSpPr>
          <p:nvPr>
            <p:ph type="sldNum" sz="quarter" idx="5"/>
          </p:nvPr>
        </p:nvSpPr>
        <p:spPr/>
        <p:txBody>
          <a:bodyPr/>
          <a:lstStyle/>
          <a:p>
            <a:fld id="{820133BD-6629-D245-9461-799999F1C98F}" type="slidenum">
              <a:rPr lang="en-US" smtClean="0"/>
              <a:t>14</a:t>
            </a:fld>
            <a:endParaRPr lang="en-US"/>
          </a:p>
        </p:txBody>
      </p:sp>
    </p:spTree>
    <p:extLst>
      <p:ext uri="{BB962C8B-B14F-4D97-AF65-F5344CB8AC3E}">
        <p14:creationId xmlns:p14="http://schemas.microsoft.com/office/powerpoint/2010/main" val="3391694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a:t>Why are we asking this information?</a:t>
            </a:r>
          </a:p>
          <a:p>
            <a:pPr marL="171450" indent="-171450">
              <a:buFont typeface="Arial" panose="020B0604020202020204" pitchFamily="34" charset="0"/>
              <a:buChar char="•"/>
            </a:pPr>
            <a:r>
              <a:rPr lang="en-US"/>
              <a:t>We want to validate that the proper processes and tools to handle high volumes of data are in place.</a:t>
            </a:r>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endParaRPr lang="en-US" noProof="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Any type of resources that focus on how high volumes of data will be managed. Think about all stages of data migration, including extraction, loading, synchronization.</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How do you plan to use Dual write (if applicable) when looking at high volumes of data?</a:t>
            </a:r>
          </a:p>
          <a:p>
            <a:r>
              <a:rPr lang="en-US" noProof="0"/>
              <a:t>=========================</a:t>
            </a:r>
          </a:p>
        </p:txBody>
      </p:sp>
      <p:sp>
        <p:nvSpPr>
          <p:cNvPr id="4" name="Slide Number Placeholder 3"/>
          <p:cNvSpPr>
            <a:spLocks noGrp="1"/>
          </p:cNvSpPr>
          <p:nvPr>
            <p:ph type="sldNum" sz="quarter" idx="5"/>
          </p:nvPr>
        </p:nvSpPr>
        <p:spPr/>
        <p:txBody>
          <a:bodyPr/>
          <a:lstStyle/>
          <a:p>
            <a:fld id="{820133BD-6629-D245-9461-799999F1C98F}" type="slidenum">
              <a:rPr lang="en-US" smtClean="0"/>
              <a:t>15</a:t>
            </a:fld>
            <a:endParaRPr lang="en-US"/>
          </a:p>
        </p:txBody>
      </p:sp>
    </p:spTree>
    <p:extLst>
      <p:ext uri="{BB962C8B-B14F-4D97-AF65-F5344CB8AC3E}">
        <p14:creationId xmlns:p14="http://schemas.microsoft.com/office/powerpoint/2010/main" val="39186298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dirty="0"/>
              <a:t>Why are we asking this information?</a:t>
            </a:r>
          </a:p>
          <a:p>
            <a:pPr marL="171450" indent="-171450">
              <a:buFont typeface="Arial" panose="020B0604020202020204" pitchFamily="34" charset="0"/>
              <a:buChar char="•"/>
            </a:pPr>
            <a:r>
              <a:rPr lang="en-US" dirty="0"/>
              <a:t>We want to validate that the team has identified and validated the proper tools to be used in the data migration process.</a:t>
            </a:r>
          </a:p>
          <a:p>
            <a:pPr marL="0" marR="0" lvl="0" indent="0" algn="l" defTabSz="914400" rtl="0" eaLnBrk="1" fontAlgn="auto" latinLnBrk="0" hangingPunct="1">
              <a:lnSpc>
                <a:spcPct val="100000"/>
              </a:lnSpc>
              <a:spcBef>
                <a:spcPts val="0"/>
              </a:spcBef>
              <a:spcAft>
                <a:spcPts val="0"/>
              </a:spcAft>
              <a:buClrTx/>
              <a:buSzTx/>
              <a:buFontTx/>
              <a:buNone/>
              <a:tabLst/>
              <a:defRPr/>
            </a:pPr>
            <a:r>
              <a:rPr lang="pt-PT" dirty="0"/>
              <a:t>=========================</a:t>
            </a:r>
          </a:p>
          <a:p>
            <a:r>
              <a:rPr lang="pt-PT" b="1" dirty="0"/>
              <a:t>What to include?</a:t>
            </a:r>
            <a:endParaRPr lang="en-US" noProof="0" dirty="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A description of the tools to be used at different stages of the data migration exercise.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High level logical steps and considerations </a:t>
            </a:r>
            <a:r>
              <a:rPr lang="en-US" noProof="0"/>
              <a:t>for the implementation </a:t>
            </a:r>
            <a:r>
              <a:rPr lang="en-US" noProof="0" dirty="0"/>
              <a:t>strategy of your selected migration tool.</a:t>
            </a:r>
            <a:endParaRPr lang="en-US" b="1" noProof="0" dirty="0"/>
          </a:p>
          <a:p>
            <a:r>
              <a:rPr lang="en-US" noProof="0" dirty="0"/>
              <a:t>=========================</a:t>
            </a:r>
          </a:p>
        </p:txBody>
      </p:sp>
      <p:sp>
        <p:nvSpPr>
          <p:cNvPr id="4" name="Slide Number Placeholder 3"/>
          <p:cNvSpPr>
            <a:spLocks noGrp="1"/>
          </p:cNvSpPr>
          <p:nvPr>
            <p:ph type="sldNum" sz="quarter" idx="5"/>
          </p:nvPr>
        </p:nvSpPr>
        <p:spPr/>
        <p:txBody>
          <a:bodyPr/>
          <a:lstStyle/>
          <a:p>
            <a:fld id="{820133BD-6629-D245-9461-799999F1C98F}" type="slidenum">
              <a:rPr lang="en-US" smtClean="0"/>
              <a:t>17</a:t>
            </a:fld>
            <a:endParaRPr lang="en-US"/>
          </a:p>
        </p:txBody>
      </p:sp>
    </p:spTree>
    <p:extLst>
      <p:ext uri="{BB962C8B-B14F-4D97-AF65-F5344CB8AC3E}">
        <p14:creationId xmlns:p14="http://schemas.microsoft.com/office/powerpoint/2010/main" val="36908428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a:t>Why are we asking this information?</a:t>
            </a:r>
          </a:p>
          <a:p>
            <a:pPr marL="171450" indent="-171450">
              <a:buFont typeface="Arial" panose="020B0604020202020204" pitchFamily="34" charset="0"/>
              <a:buChar char="•"/>
            </a:pPr>
            <a:r>
              <a:rPr lang="en-US"/>
              <a:t>Performance is a key component of a successful data migration strategy – have the infrastructure aspects been analyzed and incorporated?</a:t>
            </a:r>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endParaRPr lang="pt-PT" dirty="0"/>
          </a:p>
          <a:p>
            <a:r>
              <a:rPr lang="pt-PT" b="1"/>
              <a:t>What to include?</a:t>
            </a:r>
            <a:endParaRPr lang="en-US" noProof="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A description of the actions taken to identify and agree on key infrastructure elements that influence data migration performance such as environment sizing or latency. </a:t>
            </a:r>
          </a:p>
          <a:p>
            <a:r>
              <a:rPr lang="en-US" noProof="0"/>
              <a:t>=========================</a:t>
            </a:r>
            <a:endParaRPr lang="en-US" b="1" noProof="0" dirty="0"/>
          </a:p>
          <a:p>
            <a:pPr marL="0" indent="0">
              <a:buFont typeface="Arial" panose="020B0604020202020204" pitchFamily="34" charset="0"/>
              <a:buNone/>
            </a:pPr>
            <a:endParaRPr lang="en-US" b="1" noProof="0"/>
          </a:p>
          <a:p>
            <a:pPr marL="0" indent="0">
              <a:buFont typeface="Arial" panose="020B0604020202020204" pitchFamily="34" charset="0"/>
              <a:buNone/>
            </a:pPr>
            <a:endParaRPr lang="en-US" noProof="0"/>
          </a:p>
        </p:txBody>
      </p:sp>
      <p:sp>
        <p:nvSpPr>
          <p:cNvPr id="4" name="Slide Number Placeholder 3"/>
          <p:cNvSpPr>
            <a:spLocks noGrp="1"/>
          </p:cNvSpPr>
          <p:nvPr>
            <p:ph type="sldNum" sz="quarter" idx="5"/>
          </p:nvPr>
        </p:nvSpPr>
        <p:spPr/>
        <p:txBody>
          <a:bodyPr/>
          <a:lstStyle/>
          <a:p>
            <a:fld id="{820133BD-6629-D245-9461-799999F1C98F}" type="slidenum">
              <a:rPr lang="en-US" smtClean="0"/>
              <a:t>19</a:t>
            </a:fld>
            <a:endParaRPr lang="en-US"/>
          </a:p>
        </p:txBody>
      </p:sp>
    </p:spTree>
    <p:extLst>
      <p:ext uri="{BB962C8B-B14F-4D97-AF65-F5344CB8AC3E}">
        <p14:creationId xmlns:p14="http://schemas.microsoft.com/office/powerpoint/2010/main" val="17654263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dirty="0"/>
              <a:t>Why are we asking this information?</a:t>
            </a:r>
          </a:p>
          <a:p>
            <a:pPr marL="171450" indent="-171450">
              <a:buFont typeface="Arial" panose="020B0604020202020204" pitchFamily="34" charset="0"/>
              <a:buChar char="•"/>
            </a:pPr>
            <a:r>
              <a:rPr lang="en-US" dirty="0"/>
              <a:t>Performance is a key component of a successful data migration strategy – how do you plan to tune the system for a better performance?</a:t>
            </a:r>
          </a:p>
          <a:p>
            <a:pPr marL="0" marR="0" lvl="0" indent="0" algn="l" defTabSz="914400" rtl="0" eaLnBrk="1" fontAlgn="auto" latinLnBrk="0" hangingPunct="1">
              <a:lnSpc>
                <a:spcPct val="100000"/>
              </a:lnSpc>
              <a:spcBef>
                <a:spcPts val="0"/>
              </a:spcBef>
              <a:spcAft>
                <a:spcPts val="0"/>
              </a:spcAft>
              <a:buClrTx/>
              <a:buSzTx/>
              <a:buFontTx/>
              <a:buNone/>
              <a:tabLst/>
              <a:defRPr/>
            </a:pPr>
            <a:r>
              <a:rPr lang="pt-PT" dirty="0"/>
              <a:t>=========================</a:t>
            </a:r>
          </a:p>
          <a:p>
            <a:r>
              <a:rPr lang="pt-PT" b="1" dirty="0"/>
              <a:t>What to include?</a:t>
            </a:r>
            <a:endParaRPr lang="en-US" noProof="0" dirty="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A description of the actions taken to identify the available capabilities to improve performance and how these will be used. Examples include multithreading, synchronous vs asynchronous approaches, disabling database logging.</a:t>
            </a:r>
            <a:endParaRPr lang="en-US" sz="882" b="1" kern="1200" noProof="0" dirty="0">
              <a:solidFill>
                <a:schemeClr val="tx1"/>
              </a:solidFill>
              <a:latin typeface="Segoe UI" panose="020B0502040204020203" pitchFamily="34" charset="0"/>
              <a:ea typeface="+mn-ea"/>
              <a:cs typeface="+mn-cs"/>
            </a:endParaRPr>
          </a:p>
          <a:p>
            <a:r>
              <a:rPr lang="en-US" noProof="0" dirty="0"/>
              <a:t>=========================</a:t>
            </a:r>
          </a:p>
          <a:p>
            <a:pPr marL="0" indent="0">
              <a:buFont typeface="Arial" panose="020B0604020202020204" pitchFamily="34" charset="0"/>
              <a:buNone/>
            </a:pPr>
            <a:r>
              <a:rPr lang="en-US" b="1" noProof="0" dirty="0"/>
              <a:t>Resources:</a:t>
            </a:r>
          </a:p>
          <a:p>
            <a:pPr marL="171450" indent="-171450">
              <a:buFont typeface="Arial" panose="020B0604020202020204" pitchFamily="34" charset="0"/>
              <a:buChar char="•"/>
            </a:pPr>
            <a:r>
              <a:rPr lang="en-US" dirty="0">
                <a:hlinkClick r:id="rId3"/>
              </a:rPr>
              <a:t>Optimize data migration for Finance and Operations apps - Finance &amp; Operations | Dynamics 365 | Microsoft Docs</a:t>
            </a:r>
            <a:endParaRPr lang="en-US" dirty="0"/>
          </a:p>
          <a:p>
            <a:pPr marL="384175" lvl="1" indent="-171450"/>
            <a:r>
              <a:rPr lang="en-US" sz="1800" b="0" i="0" u="sng" strike="noStrike">
                <a:solidFill>
                  <a:srgbClr val="1392B3"/>
                </a:solidFill>
                <a:effectLst/>
                <a:latin typeface="Segoe UI"/>
                <a:cs typeface="Segoe UI"/>
                <a:hlinkClick r:id="rId4"/>
              </a:rPr>
              <a:t>https://docs.microsoft.com/en-us/dynamics365/fin-ops-core/dev-itpro/sysadmin/</a:t>
            </a:r>
            <a:r>
              <a:rPr lang="en-US" sz="1800" u="sng">
                <a:solidFill>
                  <a:srgbClr val="1392B3"/>
                </a:solidFill>
                <a:latin typeface="Segoe UI"/>
                <a:cs typeface="Segoe UI"/>
                <a:hlinkClick r:id="rId4"/>
              </a:rPr>
              <a:t>optimize-data-migration</a:t>
            </a:r>
            <a:endParaRPr lang="en-US" sz="850" u="sng">
              <a:solidFill>
                <a:srgbClr val="1392B3"/>
              </a:solidFill>
              <a:latin typeface="Segoe UI"/>
              <a:cs typeface="Segoe UI"/>
            </a:endParaRPr>
          </a:p>
          <a:p>
            <a:pPr marL="285750" indent="-285750">
              <a:buFont typeface="Arial"/>
              <a:buChar char="•"/>
            </a:pPr>
            <a:r>
              <a:rPr lang="en-US" sz="850">
                <a:solidFill>
                  <a:srgbClr val="000000"/>
                </a:solidFill>
                <a:latin typeface="Segoe UI"/>
                <a:cs typeface="Segoe UI"/>
              </a:rPr>
              <a:t>Recommendations</a:t>
            </a:r>
            <a:r>
              <a:rPr lang="en-US" sz="850">
                <a:latin typeface="Segoe UI"/>
                <a:cs typeface="Segoe UI"/>
              </a:rPr>
              <a:t> for a performant data migration - </a:t>
            </a:r>
            <a:r>
              <a:rPr lang="en-US" sz="850">
                <a:latin typeface="Segoe UI"/>
                <a:cs typeface="Segoe UI"/>
                <a:hlinkClick r:id="rId5"/>
              </a:rPr>
              <a:t>Data migration in Power Platform and Dynamics 365 - Learn | Microsoft Docs</a:t>
            </a:r>
            <a:endParaRPr lang="en-US" sz="850" u="sng">
              <a:solidFill>
                <a:srgbClr val="1392B3"/>
              </a:solidFill>
              <a:latin typeface="Segoe UI"/>
              <a:cs typeface="Segoe UI"/>
            </a:endParaRPr>
          </a:p>
          <a:p>
            <a:pPr marL="384175" lvl="1" indent="-171450"/>
            <a:endParaRPr lang="en-US" sz="1800" u="sng">
              <a:solidFill>
                <a:srgbClr val="1392B3"/>
              </a:solidFill>
              <a:cs typeface="Segoe UI"/>
            </a:endParaRPr>
          </a:p>
        </p:txBody>
      </p:sp>
      <p:sp>
        <p:nvSpPr>
          <p:cNvPr id="4" name="Slide Number Placeholder 3"/>
          <p:cNvSpPr>
            <a:spLocks noGrp="1"/>
          </p:cNvSpPr>
          <p:nvPr>
            <p:ph type="sldNum" sz="quarter" idx="5"/>
          </p:nvPr>
        </p:nvSpPr>
        <p:spPr/>
        <p:txBody>
          <a:bodyPr/>
          <a:lstStyle/>
          <a:p>
            <a:fld id="{820133BD-6629-D245-9461-799999F1C98F}" type="slidenum">
              <a:rPr lang="en-US" smtClean="0"/>
              <a:t>20</a:t>
            </a:fld>
            <a:endParaRPr lang="en-US"/>
          </a:p>
        </p:txBody>
      </p:sp>
    </p:spTree>
    <p:extLst>
      <p:ext uri="{BB962C8B-B14F-4D97-AF65-F5344CB8AC3E}">
        <p14:creationId xmlns:p14="http://schemas.microsoft.com/office/powerpoint/2010/main" val="29489814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a:t>Why are we asking this information?</a:t>
            </a:r>
          </a:p>
          <a:p>
            <a:pPr marL="171450" indent="-171450">
              <a:buFont typeface="Arial" panose="020B0604020202020204" pitchFamily="34" charset="0"/>
              <a:buChar char="•"/>
            </a:pPr>
            <a:r>
              <a:rPr lang="en-US"/>
              <a:t>We want to assert if data validation has been included in the overall planning.</a:t>
            </a:r>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endParaRPr lang="en-US" noProof="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A description of the steps taken to validate the migrated data, for example to ensure that all the records have been added to the target system.</a:t>
            </a:r>
          </a:p>
          <a:p>
            <a:r>
              <a:rPr lang="en-US" noProof="0"/>
              <a:t>=========================</a:t>
            </a:r>
          </a:p>
        </p:txBody>
      </p:sp>
      <p:sp>
        <p:nvSpPr>
          <p:cNvPr id="4" name="Slide Number Placeholder 3"/>
          <p:cNvSpPr>
            <a:spLocks noGrp="1"/>
          </p:cNvSpPr>
          <p:nvPr>
            <p:ph type="sldNum" sz="quarter" idx="5"/>
          </p:nvPr>
        </p:nvSpPr>
        <p:spPr/>
        <p:txBody>
          <a:bodyPr/>
          <a:lstStyle/>
          <a:p>
            <a:fld id="{820133BD-6629-D245-9461-799999F1C98F}" type="slidenum">
              <a:rPr lang="en-US" smtClean="0"/>
              <a:t>22</a:t>
            </a:fld>
            <a:endParaRPr lang="en-US"/>
          </a:p>
        </p:txBody>
      </p:sp>
    </p:spTree>
    <p:extLst>
      <p:ext uri="{BB962C8B-B14F-4D97-AF65-F5344CB8AC3E}">
        <p14:creationId xmlns:p14="http://schemas.microsoft.com/office/powerpoint/2010/main" val="40509891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a:t>Why are we asking this information?</a:t>
            </a:r>
          </a:p>
          <a:p>
            <a:pPr marL="171450" indent="-171450">
              <a:buFont typeface="Arial" panose="020B0604020202020204" pitchFamily="34" charset="0"/>
              <a:buChar char="•"/>
            </a:pPr>
            <a:r>
              <a:rPr lang="en-US"/>
              <a:t>We want to assert if testing plans exist for data migration cycles.</a:t>
            </a:r>
          </a:p>
          <a:p>
            <a:pPr marL="171450" indent="-171450">
              <a:buFont typeface="Arial" panose="020B0604020202020204" pitchFamily="34" charset="0"/>
              <a:buChar char="•"/>
            </a:pPr>
            <a:r>
              <a:rPr lang="en-US"/>
              <a:t>We want to validate that the testing results are injected into the next data migration cycle.</a:t>
            </a:r>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endParaRPr lang="pt-PT" dirty="0"/>
          </a:p>
          <a:p>
            <a:r>
              <a:rPr lang="pt-PT" b="1"/>
              <a:t>What to include?</a:t>
            </a:r>
            <a:endParaRPr lang="en-US" noProof="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Description, test cases, documentation that focuses on data migration testing.</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If not covered already, information about ownership, for example, who signs off the data migration testing.</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Description of the steps implemented to make sure the findings of a test cycle are brought to the next cycle. </a:t>
            </a:r>
          </a:p>
          <a:p>
            <a:r>
              <a:rPr lang="en-US" noProof="0"/>
              <a:t>=========================</a:t>
            </a:r>
            <a:endParaRPr lang="en-US" noProof="0" dirty="0"/>
          </a:p>
        </p:txBody>
      </p:sp>
      <p:sp>
        <p:nvSpPr>
          <p:cNvPr id="4" name="Slide Number Placeholder 3"/>
          <p:cNvSpPr>
            <a:spLocks noGrp="1"/>
          </p:cNvSpPr>
          <p:nvPr>
            <p:ph type="sldNum" sz="quarter" idx="5"/>
          </p:nvPr>
        </p:nvSpPr>
        <p:spPr/>
        <p:txBody>
          <a:bodyPr/>
          <a:lstStyle/>
          <a:p>
            <a:fld id="{820133BD-6629-D245-9461-799999F1C98F}" type="slidenum">
              <a:rPr lang="en-US" smtClean="0"/>
              <a:t>24</a:t>
            </a:fld>
            <a:endParaRPr lang="en-US"/>
          </a:p>
        </p:txBody>
      </p:sp>
    </p:spTree>
    <p:extLst>
      <p:ext uri="{BB962C8B-B14F-4D97-AF65-F5344CB8AC3E}">
        <p14:creationId xmlns:p14="http://schemas.microsoft.com/office/powerpoint/2010/main" val="20678714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2017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2</a:t>
            </a:fld>
            <a:endParaRPr lang="en-US"/>
          </a:p>
        </p:txBody>
      </p:sp>
    </p:spTree>
    <p:extLst>
      <p:ext uri="{BB962C8B-B14F-4D97-AF65-F5344CB8AC3E}">
        <p14:creationId xmlns:p14="http://schemas.microsoft.com/office/powerpoint/2010/main" val="39569151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F0E8ADD-5317-4C14-B1BC-530D7C569EE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8/2021 1: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378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2981" lvl="2" indent="0">
              <a:buNone/>
            </a:pPr>
            <a:endParaRPr lang="en-AU" b="1" dirty="0"/>
          </a:p>
          <a:p>
            <a:r>
              <a:rPr lang="en-AU" sz="2500" b="1" dirty="0"/>
              <a:t>Use this slide to talk a little bit about data migration in general and the different aspects listed – to get everyone on the same page and before starting the assessment.</a:t>
            </a:r>
            <a:endParaRPr lang="en-US" sz="1800" dirty="0">
              <a:effectLst/>
              <a:latin typeface="Segoe UI" panose="020B0502040204020203" pitchFamily="34" charset="0"/>
              <a:ea typeface="Meiryo" panose="020B0604030504040204" pitchFamily="34" charset="-128"/>
              <a:cs typeface="Arial" panose="020B0604020202020204" pitchFamily="34" charset="0"/>
            </a:endParaRPr>
          </a:p>
          <a:p>
            <a:endParaRPr lang="en-AU" dirty="0"/>
          </a:p>
          <a:p>
            <a:endParaRPr lang="en-AU" dirty="0"/>
          </a:p>
          <a:p>
            <a:endParaRPr lang="en-AU" dirty="0"/>
          </a:p>
          <a:p>
            <a:endParaRPr lang="en-AU" dirty="0"/>
          </a:p>
          <a:p>
            <a:endParaRPr lang="en-AU" dirty="0"/>
          </a:p>
          <a:p>
            <a:endParaRPr lang="en-US" dirty="0"/>
          </a:p>
        </p:txBody>
      </p:sp>
      <p:sp>
        <p:nvSpPr>
          <p:cNvPr id="4" name="Slide Number Placeholder 3"/>
          <p:cNvSpPr>
            <a:spLocks noGrp="1"/>
          </p:cNvSpPr>
          <p:nvPr>
            <p:ph type="sldNum" sz="quarter" idx="10"/>
          </p:nvPr>
        </p:nvSpPr>
        <p:spPr/>
        <p:txBody>
          <a:bodyPr/>
          <a:lstStyle/>
          <a:p>
            <a:fld id="{5317D2A0-520C-4591-802F-9C3AA127C0D4}" type="slidenum">
              <a:rPr lang="en-US" smtClean="0"/>
              <a:t>4</a:t>
            </a:fld>
            <a:endParaRPr lang="en-US"/>
          </a:p>
        </p:txBody>
      </p:sp>
    </p:spTree>
    <p:extLst>
      <p:ext uri="{BB962C8B-B14F-4D97-AF65-F5344CB8AC3E}">
        <p14:creationId xmlns:p14="http://schemas.microsoft.com/office/powerpoint/2010/main" val="28531095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8/2021 1:5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2714881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900" b="1" i="0" u="none" strike="noStrike" dirty="0">
                <a:solidFill>
                  <a:srgbClr val="000000"/>
                </a:solidFill>
                <a:effectLst/>
                <a:latin typeface="Segoe UI" panose="020B0502040204020203" pitchFamily="34" charset="0"/>
              </a:rPr>
              <a:t>Resources:</a:t>
            </a:r>
            <a:r>
              <a:rPr lang="en-US" sz="900" b="0" i="0" dirty="0">
                <a:solidFill>
                  <a:srgbClr val="444444"/>
                </a:solidFill>
                <a:effectLst/>
                <a:latin typeface="Segoe UI" panose="020B0502040204020203" pitchFamily="34" charset="0"/>
              </a:rPr>
              <a:t>​</a:t>
            </a:r>
            <a:endParaRPr lang="en-US" b="0" i="0" dirty="0">
              <a:solidFill>
                <a:srgbClr val="444444"/>
              </a:solidFill>
              <a:effectLst/>
              <a:latin typeface="Calibri" panose="020F0502020204030204" pitchFamily="34" charset="0"/>
            </a:endParaRPr>
          </a:p>
          <a:p>
            <a:pPr algn="l" rtl="0" fontAlgn="base">
              <a:buFont typeface="Arial" panose="020B0604020202020204" pitchFamily="34" charset="0"/>
              <a:buChar char="•"/>
            </a:pPr>
            <a:r>
              <a:rPr lang="en-US" sz="900" b="0" i="0" u="sng" strike="noStrike" dirty="0">
                <a:solidFill>
                  <a:srgbClr val="1392B3"/>
                </a:solidFill>
                <a:effectLst/>
                <a:latin typeface="Segoe UI" panose="020B0502040204020203" pitchFamily="34" charset="0"/>
                <a:hlinkClick r:id="rId3"/>
              </a:rPr>
              <a:t>Finance and Supply Chain Management: Data Management | February 14, 2020 - Microsoft Dynamics Blog</a:t>
            </a:r>
            <a:r>
              <a:rPr lang="en-US" sz="900" b="0" i="0" dirty="0">
                <a:solidFill>
                  <a:srgbClr val="444444"/>
                </a:solidFill>
                <a:effectLst/>
                <a:latin typeface="Segoe UI" panose="020B0502040204020203" pitchFamily="34" charset="0"/>
              </a:rPr>
              <a:t>​</a:t>
            </a:r>
            <a:endParaRPr lang="en-US" sz="300" b="0" i="0" dirty="0">
              <a:solidFill>
                <a:srgbClr val="444444"/>
              </a:solidFill>
              <a:effectLst/>
              <a:latin typeface="Arial" panose="020B0604020202020204" pitchFamily="34" charset="0"/>
            </a:endParaRPr>
          </a:p>
          <a:p>
            <a:pPr lvl="1" algn="l" rtl="0" fontAlgn="base">
              <a:buFont typeface="Arial" panose="020B0604020202020204" pitchFamily="34" charset="0"/>
              <a:buChar char="•"/>
            </a:pPr>
            <a:r>
              <a:rPr lang="en-US" sz="900" b="0" i="0" u="none" strike="noStrike" dirty="0">
                <a:solidFill>
                  <a:srgbClr val="000000"/>
                </a:solidFill>
                <a:effectLst/>
                <a:latin typeface="Segoe UI" panose="020B0502040204020203" pitchFamily="34" charset="0"/>
              </a:rPr>
              <a:t>https://community.dynamics.com/365/b/techtalks/posts/dynamics-365-finance-scm-data-management-february-14-2020</a:t>
            </a:r>
            <a:r>
              <a:rPr lang="en-US" sz="900" b="0" i="0" dirty="0">
                <a:solidFill>
                  <a:srgbClr val="444444"/>
                </a:solidFill>
                <a:effectLst/>
                <a:latin typeface="Segoe UI" panose="020B0502040204020203" pitchFamily="34" charset="0"/>
              </a:rPr>
              <a:t>​</a:t>
            </a:r>
            <a:endParaRPr lang="en-US" sz="3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900" b="0" i="0" u="sng" strike="noStrike" dirty="0">
                <a:solidFill>
                  <a:srgbClr val="1392B3"/>
                </a:solidFill>
                <a:effectLst/>
                <a:latin typeface="Segoe UI" panose="020B0502040204020203" pitchFamily="34" charset="0"/>
                <a:hlinkClick r:id="rId4"/>
              </a:rPr>
              <a:t>Data Migration | January 16, 2018 - Microsoft Dynamics Blog</a:t>
            </a:r>
            <a:r>
              <a:rPr lang="en-US" sz="900" b="0" i="0" dirty="0">
                <a:solidFill>
                  <a:srgbClr val="444444"/>
                </a:solidFill>
                <a:effectLst/>
                <a:latin typeface="Segoe UI" panose="020B0502040204020203" pitchFamily="34" charset="0"/>
              </a:rPr>
              <a:t>​</a:t>
            </a:r>
            <a:endParaRPr lang="en-US" sz="300" b="0" i="0" dirty="0">
              <a:solidFill>
                <a:srgbClr val="444444"/>
              </a:solidFill>
              <a:effectLst/>
              <a:latin typeface="Arial" panose="020B0604020202020204" pitchFamily="34" charset="0"/>
            </a:endParaRPr>
          </a:p>
          <a:p>
            <a:pPr lvl="1" algn="l" rtl="0" fontAlgn="base">
              <a:buFont typeface="Arial" panose="020B0604020202020204" pitchFamily="34" charset="0"/>
              <a:buChar char="•"/>
            </a:pPr>
            <a:r>
              <a:rPr lang="en-US" sz="900" b="0" i="0" u="none" strike="noStrike" dirty="0">
                <a:solidFill>
                  <a:srgbClr val="000000"/>
                </a:solidFill>
                <a:effectLst/>
                <a:latin typeface="Segoe UI" panose="020B0502040204020203" pitchFamily="34" charset="0"/>
              </a:rPr>
              <a:t>https://community.dynamics.com/365/b/techtalks/posts/data-migration-january-16-2018</a:t>
            </a:r>
            <a:endParaRPr lang="en-US" sz="300" b="0" i="0" dirty="0">
              <a:solidFill>
                <a:srgbClr val="444444"/>
              </a:solidFill>
              <a:effectLst/>
              <a:latin typeface="Arial" panose="020B0604020202020204" pitchFamily="34" charset="0"/>
            </a:endParaRPr>
          </a:p>
        </p:txBody>
      </p:sp>
      <p:sp>
        <p:nvSpPr>
          <p:cNvPr id="4" name="Slide Number Placeholder 3"/>
          <p:cNvSpPr>
            <a:spLocks noGrp="1"/>
          </p:cNvSpPr>
          <p:nvPr>
            <p:ph type="sldNum" sz="quarter" idx="10"/>
          </p:nvPr>
        </p:nvSpPr>
        <p:spPr/>
        <p:txBody>
          <a:bodyPr/>
          <a:lstStyle/>
          <a:p>
            <a:pPr defTabSz="966212">
              <a:defRPr/>
            </a:pPr>
            <a:fld id="{BFC2C6D9-B0B0-44A0-86FD-59D841B508D0}" type="slidenum">
              <a:rPr lang="en-US">
                <a:solidFill>
                  <a:prstClr val="black"/>
                </a:solidFill>
              </a:rPr>
              <a:pPr defTabSz="966212">
                <a:defRPr/>
              </a:pPr>
              <a:t>6</a:t>
            </a:fld>
            <a:endParaRPr lang="en-US">
              <a:solidFill>
                <a:prstClr val="black"/>
              </a:solidFill>
            </a:endParaRPr>
          </a:p>
        </p:txBody>
      </p:sp>
    </p:spTree>
    <p:extLst>
      <p:ext uri="{BB962C8B-B14F-4D97-AF65-F5344CB8AC3E}">
        <p14:creationId xmlns:p14="http://schemas.microsoft.com/office/powerpoint/2010/main" val="1890781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a:t>Why are we asking this information?</a:t>
            </a:r>
          </a:p>
          <a:p>
            <a:pPr marL="171450" indent="-171450">
              <a:buFont typeface="Arial" panose="020B0604020202020204" pitchFamily="34" charset="0"/>
              <a:buChar char="•"/>
            </a:pPr>
            <a:r>
              <a:rPr lang="en-US" noProof="0"/>
              <a:t>We want to review how the data migration plan is incorporated into the overall project planning.</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endParaRPr lang="en-US"/>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Documents, diagrams, charts regarding the project’s timelines with a focus on data migration. Consider all phases of a project: Initiate, Implement, Prepare, Operate.</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Examples would be project plan and data migration plan (including entities, dependencies, volumes, timings, iterations).</a:t>
            </a:r>
          </a:p>
          <a:p>
            <a:r>
              <a:rPr lang="en-US" noProof="0"/>
              <a:t>=========================</a:t>
            </a:r>
          </a:p>
        </p:txBody>
      </p:sp>
      <p:sp>
        <p:nvSpPr>
          <p:cNvPr id="4" name="Slide Number Placeholder 3"/>
          <p:cNvSpPr>
            <a:spLocks noGrp="1"/>
          </p:cNvSpPr>
          <p:nvPr>
            <p:ph type="sldNum" sz="quarter" idx="5"/>
          </p:nvPr>
        </p:nvSpPr>
        <p:spPr/>
        <p:txBody>
          <a:bodyPr/>
          <a:lstStyle/>
          <a:p>
            <a:fld id="{820133BD-6629-D245-9461-799999F1C98F}" type="slidenum">
              <a:rPr lang="en-US" smtClean="0"/>
              <a:t>7</a:t>
            </a:fld>
            <a:endParaRPr lang="en-US"/>
          </a:p>
        </p:txBody>
      </p:sp>
    </p:spTree>
    <p:extLst>
      <p:ext uri="{BB962C8B-B14F-4D97-AF65-F5344CB8AC3E}">
        <p14:creationId xmlns:p14="http://schemas.microsoft.com/office/powerpoint/2010/main" val="9532904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a:t>Why are we asking this information?</a:t>
            </a:r>
          </a:p>
          <a:p>
            <a:pPr marL="171450" indent="-171450">
              <a:buFont typeface="Arial" panose="020B0604020202020204" pitchFamily="34" charset="0"/>
              <a:buChar char="•"/>
            </a:pPr>
            <a:r>
              <a:rPr lang="en-US"/>
              <a:t>We want to validate that the ownership of data is clearly defined and known to the team.</a:t>
            </a:r>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endParaRPr lang="en-US"/>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Answers (in text or separate documents) to the following questions:</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Who owns the different steps of the data migration processes? Think here about steps like data extraction, provision and cleansing, importing it into the target environments.</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Which party assumes troubleshooting various issues? For example, if performance issues arise during data migration import, who can validate?</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Who is responsible of defining the data templates and formats?</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Who validates the data?</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Who signs off the data?</a:t>
            </a:r>
          </a:p>
          <a:p>
            <a:r>
              <a:rPr lang="en-US" noProof="0"/>
              <a:t>=========================</a:t>
            </a:r>
          </a:p>
        </p:txBody>
      </p:sp>
      <p:sp>
        <p:nvSpPr>
          <p:cNvPr id="4" name="Slide Number Placeholder 3"/>
          <p:cNvSpPr>
            <a:spLocks noGrp="1"/>
          </p:cNvSpPr>
          <p:nvPr>
            <p:ph type="sldNum" sz="quarter" idx="5"/>
          </p:nvPr>
        </p:nvSpPr>
        <p:spPr/>
        <p:txBody>
          <a:bodyPr/>
          <a:lstStyle/>
          <a:p>
            <a:fld id="{820133BD-6629-D245-9461-799999F1C98F}" type="slidenum">
              <a:rPr lang="en-US" smtClean="0"/>
              <a:t>8</a:t>
            </a:fld>
            <a:endParaRPr lang="en-US"/>
          </a:p>
        </p:txBody>
      </p:sp>
    </p:spTree>
    <p:extLst>
      <p:ext uri="{BB962C8B-B14F-4D97-AF65-F5344CB8AC3E}">
        <p14:creationId xmlns:p14="http://schemas.microsoft.com/office/powerpoint/2010/main" val="6247967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a:t>Why are we asking this information?</a:t>
            </a:r>
          </a:p>
          <a:p>
            <a:pPr marL="171450" indent="-171450">
              <a:buFont typeface="Arial" panose="020B0604020202020204" pitchFamily="34" charset="0"/>
              <a:buChar char="•"/>
            </a:pPr>
            <a:r>
              <a:rPr lang="en-US"/>
              <a:t>We want to validate that the right type of data has been identified and that the data migration scope is cle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The data mapping document will be an integral piece to the success of your data migration. This should include the transformation logic along with other checks like mandatory field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It’s important to complete data structures and relationship of the destination solution up front, otherwise data migration development will be delayed. Some projects might choose to define on an iterative basis throughout each sprints/iteration of your project and the project management team must be made aware that data migration development can be hindered until the destination solution entities and relationships are defined.</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endParaRPr lang="en-US" noProof="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Details, plans and documents regarding migrating the following types of data:</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Configuration data</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Master data vs Transaction data </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Historical data</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Processing large volumes of data or complexity of relationships amongst entities, time required to complete data migration can exceed planned cut over time. Hence, it is always advisable to have detailed data migration strategy which not only covers the right options to choose from for a project but also considers the volume and cut over time available. </a:t>
            </a:r>
          </a:p>
          <a:p>
            <a:r>
              <a:rPr lang="en-US" noProof="0"/>
              <a:t>=========================</a:t>
            </a:r>
            <a:endParaRPr lang="en-US" noProof="0" dirty="0"/>
          </a:p>
        </p:txBody>
      </p:sp>
      <p:sp>
        <p:nvSpPr>
          <p:cNvPr id="4" name="Slide Number Placeholder 3"/>
          <p:cNvSpPr>
            <a:spLocks noGrp="1"/>
          </p:cNvSpPr>
          <p:nvPr>
            <p:ph type="sldNum" sz="quarter" idx="5"/>
          </p:nvPr>
        </p:nvSpPr>
        <p:spPr/>
        <p:txBody>
          <a:bodyPr/>
          <a:lstStyle/>
          <a:p>
            <a:fld id="{820133BD-6629-D245-9461-799999F1C98F}" type="slidenum">
              <a:rPr lang="en-US" smtClean="0"/>
              <a:t>9</a:t>
            </a:fld>
            <a:endParaRPr lang="en-US"/>
          </a:p>
        </p:txBody>
      </p:sp>
    </p:spTree>
    <p:extLst>
      <p:ext uri="{BB962C8B-B14F-4D97-AF65-F5344CB8AC3E}">
        <p14:creationId xmlns:p14="http://schemas.microsoft.com/office/powerpoint/2010/main" val="41666901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a:t>Why are we asking this information?</a:t>
            </a:r>
          </a:p>
          <a:p>
            <a:pPr marL="171450" indent="-171450">
              <a:buFont typeface="Arial" panose="020B0604020202020204" pitchFamily="34" charset="0"/>
              <a:buChar char="•"/>
            </a:pPr>
            <a:r>
              <a:rPr lang="en-US"/>
              <a:t>We want to validate that the right sources of legacy data have been identified</a:t>
            </a:r>
            <a:r>
              <a:rPr lang="en-US" dirty="0"/>
              <a:t>.</a:t>
            </a:r>
            <a:endParaRPr lang="en-US"/>
          </a:p>
          <a:p>
            <a:pPr marL="171450" indent="-171450">
              <a:buFont typeface="Arial" panose="020B0604020202020204" pitchFamily="34" charset="0"/>
              <a:buChar char="•"/>
            </a:pPr>
            <a:r>
              <a:rPr lang="en-US"/>
              <a:t>Is there a proper plan to extract the data from these sources?</a:t>
            </a:r>
          </a:p>
          <a:p>
            <a:pPr marL="171450" indent="-171450">
              <a:buFont typeface="Arial" panose="020B0604020202020204" pitchFamily="34" charset="0"/>
              <a:buChar char="•"/>
            </a:pPr>
            <a:r>
              <a:rPr lang="en-US"/>
              <a:t>Have the necessary tools to extract and transport the data to the target systems been determin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The data mapping document will be an integral piece to the success of your data migration. This should include the transformation logic along with other checks like mandatory field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It’s important to complete data structures and relationship of the destination solution up front, otherwise data migration development will be delayed. Some projects might choose to define on an iterative basis throughout each sprints/iteration of your project and the project management team must be made aware that data migration development can be hindered until the destination solution entities and relationships are defined.</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endParaRPr lang="en-US" noProof="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Information regarding all the legacy systems that will be a source of data, with their respective formats.</a:t>
            </a:r>
          </a:p>
          <a:p>
            <a:pPr marL="171450" indent="-171450">
              <a:buFont typeface="Arial" panose="020B0604020202020204" pitchFamily="34" charset="0"/>
              <a:buChar char="•"/>
            </a:pPr>
            <a:r>
              <a:rPr lang="en-US" noProof="0"/>
              <a:t>A description of the tools and processes to extract the data, clean it and to store it/ prepare it for import.</a:t>
            </a:r>
          </a:p>
          <a:p>
            <a:pPr marL="171450" indent="-171450">
              <a:buFont typeface="Arial" panose="020B0604020202020204" pitchFamily="34" charset="0"/>
              <a:buChar char="•"/>
            </a:pPr>
            <a:r>
              <a:rPr lang="en-US" noProof="0"/>
              <a:t>The owners of the above processes, if not presented already</a:t>
            </a:r>
            <a:r>
              <a:rPr lang="en-US" noProof="0" dirty="0"/>
              <a:t>.</a:t>
            </a:r>
            <a:endParaRPr lang="en-US" noProof="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a:solidFill>
                  <a:schemeClr val="tx1"/>
                </a:solidFill>
              </a:rPr>
              <a:t>What is the plan for ensuring data cleansing prior </a:t>
            </a:r>
            <a:r>
              <a:rPr lang="en-US" sz="900" dirty="0">
                <a:solidFill>
                  <a:schemeClr val="tx1"/>
                </a:solidFill>
              </a:rPr>
              <a:t>to </a:t>
            </a:r>
            <a:r>
              <a:rPr lang="en-US" sz="900">
                <a:solidFill>
                  <a:schemeClr val="tx1"/>
                </a:solidFill>
              </a:rPr>
              <a:t>data migration? </a:t>
            </a:r>
            <a:r>
              <a:rPr lang="en-US" sz="1400" noProof="0"/>
              <a:t>Migrating data incorrectly or incorrectly formatted can severely impact the quality of the migration as well performance.</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The data load sequence is extremely important, and, in some cases, records will fail if not ordered in the correct sequence. All your references defined and loaded in the correct order?</a:t>
            </a:r>
          </a:p>
          <a:p>
            <a:r>
              <a:rPr lang="en-US" noProof="0"/>
              <a:t>=========================</a:t>
            </a:r>
            <a:endParaRPr lang="en-US" noProof="0" dirty="0"/>
          </a:p>
        </p:txBody>
      </p:sp>
      <p:sp>
        <p:nvSpPr>
          <p:cNvPr id="4" name="Slide Number Placeholder 3"/>
          <p:cNvSpPr>
            <a:spLocks noGrp="1"/>
          </p:cNvSpPr>
          <p:nvPr>
            <p:ph type="sldNum" sz="quarter" idx="5"/>
          </p:nvPr>
        </p:nvSpPr>
        <p:spPr/>
        <p:txBody>
          <a:bodyPr/>
          <a:lstStyle/>
          <a:p>
            <a:fld id="{820133BD-6629-D245-9461-799999F1C98F}" type="slidenum">
              <a:rPr lang="en-US" smtClean="0"/>
              <a:t>10</a:t>
            </a:fld>
            <a:endParaRPr lang="en-US"/>
          </a:p>
        </p:txBody>
      </p:sp>
    </p:spTree>
    <p:extLst>
      <p:ext uri="{BB962C8B-B14F-4D97-AF65-F5344CB8AC3E}">
        <p14:creationId xmlns:p14="http://schemas.microsoft.com/office/powerpoint/2010/main" val="42077930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image" Target="../media/image6.jpeg"/><Relationship Id="rId9" Type="http://schemas.openxmlformats.org/officeDocument/2006/relationships/image" Target="../media/image10.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descr="one man and two women with hard hats reviewing a Surface computer">
            <a:extLst>
              <a:ext uri="{FF2B5EF4-FFF2-40B4-BE49-F238E27FC236}">
                <a16:creationId xmlns:a16="http://schemas.microsoft.com/office/drawing/2014/main" id="{A6BAEDD7-9476-4425-A65F-0E9362C545F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B556A"/>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9191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191919"/>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4CCBED"/>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descr="Microsoft Dynamics 365 logo, white text version">
            <a:extLst>
              <a:ext uri="{FF2B5EF4-FFF2-40B4-BE49-F238E27FC236}">
                <a16:creationId xmlns:a16="http://schemas.microsoft.com/office/drawing/2014/main" id="{AB102EF0-6ED7-4E24-A7D7-8968A6F3D1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91919"/>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3" name="Picture 2" descr="Microsoft Dynamics 365 logo, white text version">
            <a:extLst>
              <a:ext uri="{FF2B5EF4-FFF2-40B4-BE49-F238E27FC236}">
                <a16:creationId xmlns:a16="http://schemas.microsoft.com/office/drawing/2014/main" id="{9B7CA3D8-8EC2-4E20-955C-A95CB279C9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Notes slide Layout">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black">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bwMode="invGray">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6_Title with 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1599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045">
          <p15:clr>
            <a:srgbClr val="FBAE40"/>
          </p15:clr>
        </p15:guide>
        <p15:guide id="2" pos="578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66173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33826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9458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525699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6_Title with 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2076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045">
          <p15:clr>
            <a:srgbClr val="FBAE40"/>
          </p15:clr>
        </p15:guide>
        <p15:guide id="2" pos="578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970083-3A71-48F6-9BD0-D3686BD2843E}"/>
              </a:ext>
            </a:extLst>
          </p:cNvPr>
          <p:cNvSpPr>
            <a:spLocks noGrp="1"/>
          </p:cNvSpPr>
          <p:nvPr>
            <p:ph type="title"/>
          </p:nvPr>
        </p:nvSpPr>
        <p:spPr/>
        <p:txBody>
          <a:bodyPr anchor="ctr"/>
          <a:lstStyle>
            <a:lvl1pPr>
              <a:defRPr sz="4000">
                <a:solidFill>
                  <a:schemeClr val="tx1"/>
                </a:solidFill>
              </a:defRPr>
            </a:lvl1pPr>
          </a:lstStyle>
          <a:p>
            <a:r>
              <a:rPr lang="en-US"/>
              <a:t>Click to edit Master title style</a:t>
            </a:r>
            <a:endParaRPr lang="en-GB"/>
          </a:p>
        </p:txBody>
      </p:sp>
      <p:sp>
        <p:nvSpPr>
          <p:cNvPr id="7" name="Content Placeholder 6">
            <a:extLst>
              <a:ext uri="{FF2B5EF4-FFF2-40B4-BE49-F238E27FC236}">
                <a16:creationId xmlns:a16="http://schemas.microsoft.com/office/drawing/2014/main" id="{9AB5242A-416F-4F00-9C67-1EF1C6073DCE}"/>
              </a:ext>
            </a:extLst>
          </p:cNvPr>
          <p:cNvSpPr>
            <a:spLocks noGrp="1"/>
          </p:cNvSpPr>
          <p:nvPr>
            <p:ph sz="quarter" idx="10"/>
          </p:nvPr>
        </p:nvSpPr>
        <p:spPr>
          <a:xfrm>
            <a:off x="267874" y="1838324"/>
            <a:ext cx="11655839" cy="4587875"/>
          </a:xfrm>
        </p:spPr>
        <p:txBody>
          <a:bodyPr/>
          <a:lstStyle>
            <a:lvl1pPr>
              <a:buSzPct val="100000"/>
              <a:defRPr sz="2000">
                <a:latin typeface="+mn-lt"/>
              </a:defRPr>
            </a:lvl1pPr>
            <a:lvl2pPr>
              <a:buSzPct val="70000"/>
              <a:buFont typeface="Courier New" panose="02070309020205020404" pitchFamily="49" charset="0"/>
              <a:buChar char="o"/>
              <a:defRPr sz="2000">
                <a:latin typeface="+mn-lt"/>
              </a:defRPr>
            </a:lvl2pPr>
            <a:lvl3pPr>
              <a:buSzPct val="60000"/>
              <a:buFont typeface="Wingdings" panose="05000000000000000000" pitchFamily="2" charset="2"/>
              <a:buChar char="§"/>
              <a:defRPr sz="2000">
                <a:latin typeface="+mn-lt"/>
              </a:defRPr>
            </a:lvl3pPr>
            <a:lvl4pPr>
              <a:buSzPct val="60000"/>
              <a:buFont typeface="Wingdings" panose="05000000000000000000" pitchFamily="2" charset="2"/>
              <a:buChar char="§"/>
              <a:defRPr sz="2000">
                <a:latin typeface="+mn-lt"/>
              </a:defRPr>
            </a:lvl4pPr>
            <a:lvl5pPr>
              <a:buSzPct val="60000"/>
              <a:buFont typeface="Wingdings" panose="05000000000000000000" pitchFamily="2" charset="2"/>
              <a:buChar char="§"/>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E10F35C-F5C7-474E-8739-D7BA8C2F7C9E}"/>
              </a:ext>
            </a:extLst>
          </p:cNvPr>
          <p:cNvSpPr>
            <a:spLocks noGrp="1"/>
          </p:cNvSpPr>
          <p:nvPr>
            <p:ph type="body" sz="quarter" idx="11" hasCustomPrompt="1"/>
          </p:nvPr>
        </p:nvSpPr>
        <p:spPr>
          <a:xfrm>
            <a:off x="269875" y="1189038"/>
            <a:ext cx="11652250" cy="461665"/>
          </a:xfrm>
        </p:spPr>
        <p:txBody>
          <a:bodyPr/>
          <a:lstStyle>
            <a:lvl1pPr marL="0" indent="0">
              <a:buFontTx/>
              <a:buNone/>
              <a:defRPr sz="2000">
                <a:solidFill>
                  <a:schemeClr val="accent1"/>
                </a:solidFill>
              </a:defRPr>
            </a:lvl1pPr>
            <a:lvl2pPr marL="336145" indent="0">
              <a:buFontTx/>
              <a:buNone/>
              <a:defRPr sz="2000"/>
            </a:lvl2pPr>
            <a:lvl3pPr marL="560241" indent="0">
              <a:buFontTx/>
              <a:buNone/>
              <a:defRPr sz="2000"/>
            </a:lvl3pPr>
            <a:lvl4pPr marL="784338" indent="0">
              <a:buFontTx/>
              <a:buNone/>
              <a:defRPr sz="2000"/>
            </a:lvl4pPr>
            <a:lvl5pPr marL="1008434" indent="0">
              <a:buFontTx/>
              <a:buNone/>
              <a:defRPr sz="2000"/>
            </a:lvl5pPr>
          </a:lstStyle>
          <a:p>
            <a:pPr lvl="0"/>
            <a:r>
              <a:rPr lang="en-US"/>
              <a:t>Subtitle</a:t>
            </a:r>
          </a:p>
        </p:txBody>
      </p:sp>
    </p:spTree>
    <p:extLst>
      <p:ext uri="{BB962C8B-B14F-4D97-AF65-F5344CB8AC3E}">
        <p14:creationId xmlns:p14="http://schemas.microsoft.com/office/powerpoint/2010/main" val="3172851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3_Title Slide Photo_Option">
    <p:bg>
      <p:bgPr>
        <a:solidFill>
          <a:schemeClr val="accent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67AB207-6F4C-4011-8282-D806427B4D16}"/>
              </a:ext>
            </a:extLst>
          </p:cNvPr>
          <p:cNvPicPr>
            <a:picLocks noChangeAspect="1"/>
          </p:cNvPicPr>
          <p:nvPr userDrawn="1"/>
        </p:nvPicPr>
        <p:blipFill rotWithShape="1">
          <a:blip r:embed="rId4"/>
          <a:srcRect l="13226" t="26785"/>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graphicFrame>
        <p:nvGraphicFramePr>
          <p:cNvPr id="5" name="Object 4" hidden="1">
            <a:extLst>
              <a:ext uri="{FF2B5EF4-FFF2-40B4-BE49-F238E27FC236}">
                <a16:creationId xmlns:a16="http://schemas.microsoft.com/office/drawing/2014/main" id="{F29527B2-D526-4CEB-A7B6-E8A2DC1A6786}"/>
              </a:ext>
            </a:extLst>
          </p:cNvPr>
          <p:cNvGraphicFramePr>
            <a:graphicFrameLocks noChangeAspect="1"/>
          </p:cNvGraphicFramePr>
          <p:nvPr userDrawn="1">
            <p:custDataLst>
              <p:tags r:id="rId1"/>
            </p:custDataLst>
            <p:extLst>
              <p:ext uri="{D42A27DB-BD31-4B8C-83A1-F6EECF244321}">
                <p14:modId xmlns:p14="http://schemas.microsoft.com/office/powerpoint/2010/main" val="2167933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F29527B2-D526-4CEB-A7B6-E8A2DC1A67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248D34-F62C-43CD-9EBC-A7D85B85CCAA}"/>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13" name="Graphic 12">
            <a:extLst>
              <a:ext uri="{FF2B5EF4-FFF2-40B4-BE49-F238E27FC236}">
                <a16:creationId xmlns:a16="http://schemas.microsoft.com/office/drawing/2014/main" id="{D925D7E7-2E5D-4A14-A0B0-6CBD592C2D7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0956" y="-12699"/>
            <a:ext cx="5943600" cy="6870699"/>
          </a:xfrm>
          <a:prstGeom prst="rect">
            <a:avLst/>
          </a:prstGeom>
        </p:spPr>
      </p:pic>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9"/>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30311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descr="Microsoft Dynamics 365 logo, gray text version">
            <a:extLst>
              <a:ext uri="{FF2B5EF4-FFF2-40B4-BE49-F238E27FC236}">
                <a16:creationId xmlns:a16="http://schemas.microsoft.com/office/drawing/2014/main" id="{8605861F-6D56-4C9C-8356-37418FCFD8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8926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Rectangle 3">
            <a:extLst>
              <a:ext uri="{FF2B5EF4-FFF2-40B4-BE49-F238E27FC236}">
                <a16:creationId xmlns:a16="http://schemas.microsoft.com/office/drawing/2014/main" id="{85A24502-5279-4F93-A7E2-CBF354F80225}"/>
              </a:ext>
            </a:extLst>
          </p:cNvPr>
          <p:cNvSpPr/>
          <p:nvPr userDrawn="1"/>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00" b="1">
                <a:solidFill>
                  <a:schemeClr val="tx1"/>
                </a:solidFill>
                <a:latin typeface="+mj-lt"/>
              </a:rPr>
              <a:t>Customer slide (please update)</a:t>
            </a:r>
          </a:p>
        </p:txBody>
      </p:sp>
    </p:spTree>
    <p:extLst>
      <p:ext uri="{BB962C8B-B14F-4D97-AF65-F5344CB8AC3E}">
        <p14:creationId xmlns:p14="http://schemas.microsoft.com/office/powerpoint/2010/main" val="21544128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9" name="Graphic 48">
            <a:extLst>
              <a:ext uri="{FF2B5EF4-FFF2-40B4-BE49-F238E27FC236}">
                <a16:creationId xmlns:a16="http://schemas.microsoft.com/office/drawing/2014/main" id="{B36951B0-9DD1-9642-A782-90F1E7DB8FAA}"/>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rot="5400000">
            <a:off x="9494791" y="2855691"/>
            <a:ext cx="6858001" cy="1146617"/>
          </a:xfrm>
          <a:prstGeom prst="rect">
            <a:avLst/>
          </a:prstGeom>
        </p:spPr>
      </p:pic>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09" r:id="rId1"/>
    <p:sldLayoutId id="2147484577" r:id="rId2"/>
    <p:sldLayoutId id="2147484610" r:id="rId3"/>
    <p:sldLayoutId id="2147484710" r:id="rId4"/>
    <p:sldLayoutId id="2147484240" r:id="rId5"/>
    <p:sldLayoutId id="2147484910" r:id="rId6"/>
    <p:sldLayoutId id="2147484911" r:id="rId7"/>
    <p:sldLayoutId id="2147484639" r:id="rId8"/>
    <p:sldLayoutId id="2147484977" r:id="rId9"/>
    <p:sldLayoutId id="2147484603" r:id="rId10"/>
    <p:sldLayoutId id="2147484931" r:id="rId11"/>
    <p:sldLayoutId id="2147484787" r:id="rId12"/>
    <p:sldLayoutId id="2147484249" r:id="rId13"/>
    <p:sldLayoutId id="2147484640" r:id="rId14"/>
    <p:sldLayoutId id="2147484584" r:id="rId15"/>
    <p:sldLayoutId id="2147484583" r:id="rId16"/>
    <p:sldLayoutId id="2147484671" r:id="rId17"/>
    <p:sldLayoutId id="2147484673" r:id="rId18"/>
    <p:sldLayoutId id="2147484585" r:id="rId19"/>
    <p:sldLayoutId id="2147484299" r:id="rId20"/>
    <p:sldLayoutId id="2147484263" r:id="rId21"/>
    <p:sldLayoutId id="2147484976" r:id="rId2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MSIPCMContentMarking" descr="{&quot;HashCode&quot;:-1634785317,&quot;Placement&quot;:&quot;Footer&quot;}">
            <a:extLst>
              <a:ext uri="{FF2B5EF4-FFF2-40B4-BE49-F238E27FC236}">
                <a16:creationId xmlns:a16="http://schemas.microsoft.com/office/drawing/2014/main" id="{7C672AED-C10B-487D-A34A-26B25326A601}"/>
              </a:ext>
            </a:extLst>
          </p:cNvPr>
          <p:cNvSpPr txBox="1"/>
          <p:nvPr userDrawn="1"/>
        </p:nvSpPr>
        <p:spPr>
          <a:xfrm>
            <a:off x="0" y="6664502"/>
            <a:ext cx="2123853" cy="124650"/>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00">
                <a:solidFill>
                  <a:srgbClr val="191919"/>
                </a:solidFill>
                <a:effectLst/>
                <a:latin typeface="+mn-lt"/>
              </a:rPr>
              <a:t>Classified as Microsoft Confidential</a:t>
            </a:r>
          </a:p>
        </p:txBody>
      </p:sp>
    </p:spTree>
    <p:extLst>
      <p:ext uri="{BB962C8B-B14F-4D97-AF65-F5344CB8AC3E}">
        <p14:creationId xmlns:p14="http://schemas.microsoft.com/office/powerpoint/2010/main" val="1238523823"/>
      </p:ext>
    </p:extLst>
  </p:cSld>
  <p:clrMap bg1="lt1" tx1="dk1" bg2="lt2" tx2="dk2" accent1="accent1" accent2="accent2" accent3="accent3" accent4="accent4" accent5="accent5" accent6="accent6" hlink="hlink" folHlink="folHlink"/>
  <p:sldLayoutIdLst>
    <p:sldLayoutId id="2147484980" r:id="rId1"/>
    <p:sldLayoutId id="2147484981" r:id="rId2"/>
    <p:sldLayoutId id="2147484982" r:id="rId3"/>
    <p:sldLayoutId id="2147484983" r:id="rId4"/>
    <p:sldLayoutId id="2147484984" r:id="rId5"/>
    <p:sldLayoutId id="2147484985" r:id="rId6"/>
    <p:sldLayoutId id="2147484986" r:id="rId7"/>
    <p:sldLayoutId id="2147484987" r:id="rId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13.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15.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1E1388E-A56A-4206-914E-EF0361A049FD}"/>
              </a:ext>
            </a:extLst>
          </p:cNvPr>
          <p:cNvSpPr>
            <a:spLocks noGrp="1"/>
          </p:cNvSpPr>
          <p:nvPr>
            <p:ph type="title"/>
          </p:nvPr>
        </p:nvSpPr>
        <p:spPr>
          <a:xfrm>
            <a:off x="478094" y="2425541"/>
            <a:ext cx="4794382" cy="1107996"/>
          </a:xfrm>
        </p:spPr>
        <p:txBody>
          <a:bodyPr/>
          <a:lstStyle/>
          <a:p>
            <a:r>
              <a:rPr lang="en-US">
                <a:cs typeface="Segoe UI"/>
              </a:rPr>
              <a:t>FastTrack for </a:t>
            </a:r>
            <a:br>
              <a:rPr lang="en-US">
                <a:cs typeface="Segoe UI"/>
              </a:rPr>
            </a:br>
            <a:r>
              <a:rPr lang="en-US">
                <a:cs typeface="Segoe UI"/>
              </a:rPr>
              <a:t>Dynamics 365</a:t>
            </a:r>
            <a:endParaRPr lang="en-US"/>
          </a:p>
        </p:txBody>
      </p:sp>
      <p:sp>
        <p:nvSpPr>
          <p:cNvPr id="5" name="Text Placeholder 4">
            <a:extLst>
              <a:ext uri="{FF2B5EF4-FFF2-40B4-BE49-F238E27FC236}">
                <a16:creationId xmlns:a16="http://schemas.microsoft.com/office/drawing/2014/main" id="{9D8EA170-F704-4ACA-9DBE-BD3AD12AC8E0}"/>
              </a:ext>
            </a:extLst>
          </p:cNvPr>
          <p:cNvSpPr>
            <a:spLocks noGrp="1"/>
          </p:cNvSpPr>
          <p:nvPr>
            <p:ph type="body" sz="quarter" idx="12"/>
          </p:nvPr>
        </p:nvSpPr>
        <p:spPr>
          <a:xfrm>
            <a:off x="582042" y="5313669"/>
            <a:ext cx="4164583" cy="677108"/>
          </a:xfrm>
        </p:spPr>
        <p:txBody>
          <a:bodyPr vert="horz" wrap="square" lIns="0" tIns="0" rIns="0" bIns="0" rtlCol="0" anchor="t">
            <a:spAutoFit/>
          </a:bodyPr>
          <a:lstStyle/>
          <a:p>
            <a:r>
              <a:rPr lang="en-US"/>
              <a:t>&lt;NAME&gt;</a:t>
            </a:r>
          </a:p>
          <a:p>
            <a:r>
              <a:rPr lang="en-US">
                <a:cs typeface="Segoe UI"/>
              </a:rPr>
              <a:t>R&amp;D Solution Architect</a:t>
            </a:r>
            <a:endParaRPr lang="en-US"/>
          </a:p>
        </p:txBody>
      </p:sp>
      <p:sp>
        <p:nvSpPr>
          <p:cNvPr id="6" name="Text Placeholder 2">
            <a:extLst>
              <a:ext uri="{FF2B5EF4-FFF2-40B4-BE49-F238E27FC236}">
                <a16:creationId xmlns:a16="http://schemas.microsoft.com/office/drawing/2014/main" id="{726D6336-8A35-4EC7-A7C7-9236CD068886}"/>
              </a:ext>
            </a:extLst>
          </p:cNvPr>
          <p:cNvSpPr txBox="1">
            <a:spLocks/>
          </p:cNvSpPr>
          <p:nvPr/>
        </p:nvSpPr>
        <p:spPr>
          <a:xfrm>
            <a:off x="444331" y="3914052"/>
            <a:ext cx="4739766" cy="715107"/>
          </a:xfrm>
          <a:prstGeom prst="rect">
            <a:avLst/>
          </a:prstGeom>
        </p:spPr>
        <p:txBody>
          <a:bodyPr lIns="91440" tIns="45720" rIns="91440" bIns="4572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a:latin typeface="Segoe UI Semibold"/>
                <a:cs typeface="Segoe UI"/>
              </a:rPr>
              <a:t>Data Migration Strategy Workshop</a:t>
            </a:r>
          </a:p>
        </p:txBody>
      </p:sp>
      <p:pic>
        <p:nvPicPr>
          <p:cNvPr id="9" name="Picture 8" descr="Three students collaborating around a Surface laptop.">
            <a:extLst>
              <a:ext uri="{FF2B5EF4-FFF2-40B4-BE49-F238E27FC236}">
                <a16:creationId xmlns:a16="http://schemas.microsoft.com/office/drawing/2014/main" id="{B4BDE2EB-46EE-1D4C-ACC6-469F3C5178D2}"/>
              </a:ext>
            </a:extLst>
          </p:cNvPr>
          <p:cNvPicPr>
            <a:picLocks noGrp="1" noChangeAspect="1"/>
          </p:cNvPicPr>
          <p:nvPr/>
        </p:nvPicPr>
        <p:blipFill rotWithShape="1">
          <a:blip r:embed="rId3"/>
          <a:srcRect l="25454" r="8012"/>
          <a:stretch/>
        </p:blipFill>
        <p:spPr>
          <a:xfrm>
            <a:off x="5326063" y="0"/>
            <a:ext cx="6865937" cy="6858000"/>
          </a:xfrm>
          <a:prstGeom prst="rect">
            <a:avLst/>
          </a:prstGeom>
        </p:spPr>
      </p:pic>
    </p:spTree>
    <p:extLst>
      <p:ext uri="{BB962C8B-B14F-4D97-AF65-F5344CB8AC3E}">
        <p14:creationId xmlns:p14="http://schemas.microsoft.com/office/powerpoint/2010/main" val="9549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3CE197C9-C9E2-4F5F-AA4A-1C38A7B2030B}"/>
              </a:ext>
            </a:extLst>
          </p:cNvPr>
          <p:cNvGrpSpPr/>
          <p:nvPr/>
        </p:nvGrpSpPr>
        <p:grpSpPr>
          <a:xfrm>
            <a:off x="457200" y="1189176"/>
            <a:ext cx="11277600" cy="522386"/>
            <a:chOff x="457200" y="1895261"/>
            <a:chExt cx="11277600" cy="522386"/>
          </a:xfrm>
        </p:grpSpPr>
        <p:sp>
          <p:nvSpPr>
            <p:cNvPr id="20" name="Rectangle 19">
              <a:extLst>
                <a:ext uri="{FF2B5EF4-FFF2-40B4-BE49-F238E27FC236}">
                  <a16:creationId xmlns:a16="http://schemas.microsoft.com/office/drawing/2014/main" id="{3EBF0E00-3491-407A-B77E-C8A241BBCFB3}"/>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Legacy systems and other sources of data; extraction and transformation of data.</a:t>
              </a:r>
            </a:p>
          </p:txBody>
        </p:sp>
        <p:grpSp>
          <p:nvGrpSpPr>
            <p:cNvPr id="21" name="Group 20">
              <a:extLst>
                <a:ext uri="{FF2B5EF4-FFF2-40B4-BE49-F238E27FC236}">
                  <a16:creationId xmlns:a16="http://schemas.microsoft.com/office/drawing/2014/main" id="{58108533-E0E9-4DC6-8671-5866A3000BF2}"/>
                </a:ext>
              </a:extLst>
            </p:cNvPr>
            <p:cNvGrpSpPr/>
            <p:nvPr/>
          </p:nvGrpSpPr>
          <p:grpSpPr>
            <a:xfrm>
              <a:off x="457200" y="1993398"/>
              <a:ext cx="326112" cy="326112"/>
              <a:chOff x="115497" y="1864737"/>
              <a:chExt cx="461744" cy="461744"/>
            </a:xfrm>
            <a:solidFill>
              <a:schemeClr val="tx2"/>
            </a:solidFill>
          </p:grpSpPr>
          <p:sp>
            <p:nvSpPr>
              <p:cNvPr id="22" name="Freeform: Shape 21">
                <a:extLst>
                  <a:ext uri="{FF2B5EF4-FFF2-40B4-BE49-F238E27FC236}">
                    <a16:creationId xmlns:a16="http://schemas.microsoft.com/office/drawing/2014/main" id="{5D3138EE-3B8E-4C03-BE9C-1A99127A353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Graphic 77">
                <a:extLst>
                  <a:ext uri="{FF2B5EF4-FFF2-40B4-BE49-F238E27FC236}">
                    <a16:creationId xmlns:a16="http://schemas.microsoft.com/office/drawing/2014/main" id="{E560C7A7-08F3-43EE-8ADF-2EEC0C32824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Planning and Strategy</a:t>
            </a:r>
          </a:p>
        </p:txBody>
      </p:sp>
      <p:sp>
        <p:nvSpPr>
          <p:cNvPr id="11" name="Rectangle 10">
            <a:extLst>
              <a:ext uri="{FF2B5EF4-FFF2-40B4-BE49-F238E27FC236}">
                <a16:creationId xmlns:a16="http://schemas.microsoft.com/office/drawing/2014/main" id="{76583F2C-13BC-4FA8-A9DE-F1F764C38F10}"/>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a:p>
            <a:pPr algn="ctr"/>
            <a:br>
              <a:rPr lang="en-US" sz="1600">
                <a:solidFill>
                  <a:schemeClr val="tx1"/>
                </a:solidFill>
              </a:rPr>
            </a:br>
            <a:r>
              <a:rPr lang="en-US" sz="1600">
                <a:solidFill>
                  <a:schemeClr val="tx1"/>
                </a:solidFill>
              </a:rPr>
              <a:t>(See slide notes for additional information)</a:t>
            </a:r>
          </a:p>
        </p:txBody>
      </p:sp>
    </p:spTree>
    <p:extLst>
      <p:ext uri="{BB962C8B-B14F-4D97-AF65-F5344CB8AC3E}">
        <p14:creationId xmlns:p14="http://schemas.microsoft.com/office/powerpoint/2010/main" val="1045128666"/>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3CE197C9-C9E2-4F5F-AA4A-1C38A7B2030B}"/>
              </a:ext>
            </a:extLst>
          </p:cNvPr>
          <p:cNvGrpSpPr/>
          <p:nvPr/>
        </p:nvGrpSpPr>
        <p:grpSpPr>
          <a:xfrm>
            <a:off x="457200" y="1189176"/>
            <a:ext cx="11277600" cy="522386"/>
            <a:chOff x="457200" y="1895261"/>
            <a:chExt cx="11277600" cy="522386"/>
          </a:xfrm>
        </p:grpSpPr>
        <p:sp>
          <p:nvSpPr>
            <p:cNvPr id="20" name="Rectangle 19">
              <a:extLst>
                <a:ext uri="{FF2B5EF4-FFF2-40B4-BE49-F238E27FC236}">
                  <a16:creationId xmlns:a16="http://schemas.microsoft.com/office/drawing/2014/main" id="{3EBF0E00-3491-407A-B77E-C8A241BBCFB3}"/>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Environment planning</a:t>
              </a:r>
            </a:p>
          </p:txBody>
        </p:sp>
        <p:grpSp>
          <p:nvGrpSpPr>
            <p:cNvPr id="21" name="Group 20">
              <a:extLst>
                <a:ext uri="{FF2B5EF4-FFF2-40B4-BE49-F238E27FC236}">
                  <a16:creationId xmlns:a16="http://schemas.microsoft.com/office/drawing/2014/main" id="{58108533-E0E9-4DC6-8671-5866A3000BF2}"/>
                </a:ext>
              </a:extLst>
            </p:cNvPr>
            <p:cNvGrpSpPr/>
            <p:nvPr/>
          </p:nvGrpSpPr>
          <p:grpSpPr>
            <a:xfrm>
              <a:off x="457200" y="1993398"/>
              <a:ext cx="326112" cy="326112"/>
              <a:chOff x="115497" y="1864737"/>
              <a:chExt cx="461744" cy="461744"/>
            </a:xfrm>
            <a:solidFill>
              <a:schemeClr val="tx2"/>
            </a:solidFill>
          </p:grpSpPr>
          <p:sp>
            <p:nvSpPr>
              <p:cNvPr id="22" name="Freeform: Shape 21">
                <a:extLst>
                  <a:ext uri="{FF2B5EF4-FFF2-40B4-BE49-F238E27FC236}">
                    <a16:creationId xmlns:a16="http://schemas.microsoft.com/office/drawing/2014/main" id="{5D3138EE-3B8E-4C03-BE9C-1A99127A353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Graphic 77">
                <a:extLst>
                  <a:ext uri="{FF2B5EF4-FFF2-40B4-BE49-F238E27FC236}">
                    <a16:creationId xmlns:a16="http://schemas.microsoft.com/office/drawing/2014/main" id="{E560C7A7-08F3-43EE-8ADF-2EEC0C32824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Planning and Strategy</a:t>
            </a:r>
          </a:p>
        </p:txBody>
      </p:sp>
      <p:sp>
        <p:nvSpPr>
          <p:cNvPr id="11" name="Rectangle 10">
            <a:extLst>
              <a:ext uri="{FF2B5EF4-FFF2-40B4-BE49-F238E27FC236}">
                <a16:creationId xmlns:a16="http://schemas.microsoft.com/office/drawing/2014/main" id="{76583F2C-13BC-4FA8-A9DE-F1F764C38F10}"/>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a:p>
            <a:pPr algn="ctr"/>
            <a:br>
              <a:rPr lang="en-US" sz="1600">
                <a:solidFill>
                  <a:schemeClr val="tx1"/>
                </a:solidFill>
              </a:rPr>
            </a:br>
            <a:r>
              <a:rPr lang="en-US" sz="1600">
                <a:solidFill>
                  <a:schemeClr val="tx1"/>
                </a:solidFill>
              </a:rPr>
              <a:t>(See slide notes for additional information)</a:t>
            </a:r>
          </a:p>
        </p:txBody>
      </p:sp>
    </p:spTree>
    <p:extLst>
      <p:ext uri="{BB962C8B-B14F-4D97-AF65-F5344CB8AC3E}">
        <p14:creationId xmlns:p14="http://schemas.microsoft.com/office/powerpoint/2010/main" val="791727592"/>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Planning and Strategy</a:t>
            </a:r>
            <a:endParaRPr lang="en-GB">
              <a:highlight>
                <a:srgbClr val="FFFF00"/>
              </a:highlight>
            </a:endParaRPr>
          </a:p>
        </p:txBody>
      </p:sp>
      <p:cxnSp>
        <p:nvCxnSpPr>
          <p:cNvPr id="16" name="Straight Connector 15">
            <a:extLst>
              <a:ext uri="{FF2B5EF4-FFF2-40B4-BE49-F238E27FC236}">
                <a16:creationId xmlns:a16="http://schemas.microsoft.com/office/drawing/2014/main" id="{72837305-2ABA-4EB3-8826-E9F09C5A91A9}"/>
              </a:ext>
            </a:extLst>
          </p:cNvPr>
          <p:cNvCxnSpPr>
            <a:cxnSpLocks/>
          </p:cNvCxnSpPr>
          <p:nvPr/>
        </p:nvCxnSpPr>
        <p:spPr>
          <a:xfrm>
            <a:off x="457200" y="4205798"/>
            <a:ext cx="11277600" cy="0"/>
          </a:xfrm>
          <a:prstGeom prst="line">
            <a:avLst/>
          </a:prstGeom>
          <a:noFill/>
          <a:ln w="3175">
            <a:solidFill>
              <a:schemeClr val="bg1">
                <a:lumMod val="85000"/>
              </a:schemeClr>
            </a:solidFill>
            <a:prstDash val="dash"/>
          </a:ln>
        </p:spPr>
      </p:cxnSp>
      <p:grpSp>
        <p:nvGrpSpPr>
          <p:cNvPr id="25" name="Group 24">
            <a:extLst>
              <a:ext uri="{FF2B5EF4-FFF2-40B4-BE49-F238E27FC236}">
                <a16:creationId xmlns:a16="http://schemas.microsoft.com/office/drawing/2014/main" id="{68EA5DDC-E544-4F4D-AB26-DF041AFF16F8}"/>
              </a:ext>
            </a:extLst>
          </p:cNvPr>
          <p:cNvGrpSpPr/>
          <p:nvPr/>
        </p:nvGrpSpPr>
        <p:grpSpPr>
          <a:xfrm>
            <a:off x="457200" y="4315846"/>
            <a:ext cx="5092262" cy="522386"/>
            <a:chOff x="457200" y="2678801"/>
            <a:chExt cx="5092262" cy="522386"/>
          </a:xfrm>
        </p:grpSpPr>
        <p:sp>
          <p:nvSpPr>
            <p:cNvPr id="26" name="Rectangle 25">
              <a:extLst>
                <a:ext uri="{FF2B5EF4-FFF2-40B4-BE49-F238E27FC236}">
                  <a16:creationId xmlns:a16="http://schemas.microsoft.com/office/drawing/2014/main" id="{060B385F-DDAB-4620-9658-189E6CCEF254}"/>
                </a:ext>
              </a:extLst>
            </p:cNvPr>
            <p:cNvSpPr/>
            <p:nvPr/>
          </p:nvSpPr>
          <p:spPr>
            <a:xfrm>
              <a:off x="506805" y="267880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Post </a:t>
              </a:r>
              <a:r>
                <a:rPr lang="en-US" sz="1600" dirty="0" err="1">
                  <a:solidFill>
                    <a:schemeClr val="tx1"/>
                  </a:solidFill>
                </a:rPr>
                <a:t>Go-live</a:t>
              </a:r>
              <a:r>
                <a:rPr lang="en-US" sz="1600" dirty="0">
                  <a:solidFill>
                    <a:schemeClr val="tx1"/>
                  </a:solidFill>
                </a:rPr>
                <a:t> strategy</a:t>
              </a:r>
            </a:p>
          </p:txBody>
        </p:sp>
        <p:grpSp>
          <p:nvGrpSpPr>
            <p:cNvPr id="27" name="Group 26">
              <a:extLst>
                <a:ext uri="{FF2B5EF4-FFF2-40B4-BE49-F238E27FC236}">
                  <a16:creationId xmlns:a16="http://schemas.microsoft.com/office/drawing/2014/main" id="{3FDC2661-29F9-43D9-8918-58794206E221}"/>
                </a:ext>
              </a:extLst>
            </p:cNvPr>
            <p:cNvGrpSpPr/>
            <p:nvPr/>
          </p:nvGrpSpPr>
          <p:grpSpPr>
            <a:xfrm>
              <a:off x="457200" y="2776938"/>
              <a:ext cx="326112" cy="326112"/>
              <a:chOff x="115497" y="1864737"/>
              <a:chExt cx="461744" cy="461744"/>
            </a:xfrm>
            <a:solidFill>
              <a:schemeClr val="tx2"/>
            </a:solidFill>
          </p:grpSpPr>
          <p:sp>
            <p:nvSpPr>
              <p:cNvPr id="28" name="Freeform: Shape 27">
                <a:extLst>
                  <a:ext uri="{FF2B5EF4-FFF2-40B4-BE49-F238E27FC236}">
                    <a16:creationId xmlns:a16="http://schemas.microsoft.com/office/drawing/2014/main" id="{16AE6741-1179-4554-B75D-673BA28086E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9" name="Graphic 77">
                <a:extLst>
                  <a:ext uri="{FF2B5EF4-FFF2-40B4-BE49-F238E27FC236}">
                    <a16:creationId xmlns:a16="http://schemas.microsoft.com/office/drawing/2014/main" id="{9E973F10-2DA7-474D-8094-BB9DB4EC6F0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46" name="Rectangle 45">
            <a:extLst>
              <a:ext uri="{FF2B5EF4-FFF2-40B4-BE49-F238E27FC236}">
                <a16:creationId xmlns:a16="http://schemas.microsoft.com/office/drawing/2014/main" id="{423E3344-0D3E-40C6-A30D-D9146C16FFD2}"/>
              </a:ext>
            </a:extLst>
          </p:cNvPr>
          <p:cNvSpPr/>
          <p:nvPr/>
        </p:nvSpPr>
        <p:spPr>
          <a:xfrm>
            <a:off x="6810998" y="1895261"/>
            <a:ext cx="4923802" cy="22195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a:p>
            <a:pPr algn="ctr"/>
            <a:endParaRPr lang="en-US" sz="1600">
              <a:solidFill>
                <a:schemeClr val="tx1"/>
              </a:solidFill>
              <a:highlight>
                <a:srgbClr val="FFFF00"/>
              </a:highlight>
            </a:endParaRPr>
          </a:p>
        </p:txBody>
      </p:sp>
      <p:sp>
        <p:nvSpPr>
          <p:cNvPr id="47" name="Rectangle 46">
            <a:extLst>
              <a:ext uri="{FF2B5EF4-FFF2-40B4-BE49-F238E27FC236}">
                <a16:creationId xmlns:a16="http://schemas.microsoft.com/office/drawing/2014/main" id="{3153E1ED-F3FC-47BC-86FF-ABC256FF54B7}"/>
              </a:ext>
            </a:extLst>
          </p:cNvPr>
          <p:cNvSpPr/>
          <p:nvPr/>
        </p:nvSpPr>
        <p:spPr>
          <a:xfrm>
            <a:off x="6810998" y="4296796"/>
            <a:ext cx="4923802" cy="22195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p:txBody>
      </p:sp>
      <p:grpSp>
        <p:nvGrpSpPr>
          <p:cNvPr id="15" name="Group 14">
            <a:extLst>
              <a:ext uri="{FF2B5EF4-FFF2-40B4-BE49-F238E27FC236}">
                <a16:creationId xmlns:a16="http://schemas.microsoft.com/office/drawing/2014/main" id="{1A9DB559-0E07-4023-9E8A-661D4A2B89D6}"/>
              </a:ext>
            </a:extLst>
          </p:cNvPr>
          <p:cNvGrpSpPr/>
          <p:nvPr/>
        </p:nvGrpSpPr>
        <p:grpSpPr>
          <a:xfrm>
            <a:off x="482002" y="2086112"/>
            <a:ext cx="5092262" cy="522386"/>
            <a:chOff x="457200" y="2678801"/>
            <a:chExt cx="5092262" cy="522386"/>
          </a:xfrm>
        </p:grpSpPr>
        <p:sp>
          <p:nvSpPr>
            <p:cNvPr id="17" name="Rectangle 16">
              <a:extLst>
                <a:ext uri="{FF2B5EF4-FFF2-40B4-BE49-F238E27FC236}">
                  <a16:creationId xmlns:a16="http://schemas.microsoft.com/office/drawing/2014/main" id="{2C9B9F55-6F5F-4EA9-8A4C-1F3078CCCEB7}"/>
                </a:ext>
              </a:extLst>
            </p:cNvPr>
            <p:cNvSpPr/>
            <p:nvPr/>
          </p:nvSpPr>
          <p:spPr>
            <a:xfrm>
              <a:off x="506805" y="267880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err="1">
                  <a:solidFill>
                    <a:schemeClr val="tx1"/>
                  </a:solidFill>
                </a:rPr>
                <a:t>Go-live</a:t>
              </a:r>
              <a:r>
                <a:rPr lang="en-US" sz="1600" dirty="0">
                  <a:solidFill>
                    <a:schemeClr val="tx1"/>
                  </a:solidFill>
                </a:rPr>
                <a:t> strategy</a:t>
              </a:r>
            </a:p>
          </p:txBody>
        </p:sp>
        <p:grpSp>
          <p:nvGrpSpPr>
            <p:cNvPr id="18" name="Group 17">
              <a:extLst>
                <a:ext uri="{FF2B5EF4-FFF2-40B4-BE49-F238E27FC236}">
                  <a16:creationId xmlns:a16="http://schemas.microsoft.com/office/drawing/2014/main" id="{BD99D983-D0B6-4D81-BB7E-A181036FB776}"/>
                </a:ext>
              </a:extLst>
            </p:cNvPr>
            <p:cNvGrpSpPr/>
            <p:nvPr/>
          </p:nvGrpSpPr>
          <p:grpSpPr>
            <a:xfrm>
              <a:off x="457200" y="2776938"/>
              <a:ext cx="326112" cy="326112"/>
              <a:chOff x="115497" y="1864737"/>
              <a:chExt cx="461744" cy="461744"/>
            </a:xfrm>
            <a:solidFill>
              <a:schemeClr val="tx2"/>
            </a:solidFill>
          </p:grpSpPr>
          <p:sp>
            <p:nvSpPr>
              <p:cNvPr id="19" name="Freeform: Shape 18">
                <a:extLst>
                  <a:ext uri="{FF2B5EF4-FFF2-40B4-BE49-F238E27FC236}">
                    <a16:creationId xmlns:a16="http://schemas.microsoft.com/office/drawing/2014/main" id="{14F1816E-0C6D-426A-8110-55CFD945804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Graphic 77">
                <a:extLst>
                  <a:ext uri="{FF2B5EF4-FFF2-40B4-BE49-F238E27FC236}">
                    <a16:creationId xmlns:a16="http://schemas.microsoft.com/office/drawing/2014/main" id="{82823A4D-AB09-414C-AE42-E0304D4E2A3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817739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AA5C70-A028-4B6C-ABB0-6C80B40ABCDB}"/>
              </a:ext>
            </a:extLst>
          </p:cNvPr>
          <p:cNvSpPr>
            <a:spLocks noGrp="1"/>
          </p:cNvSpPr>
          <p:nvPr>
            <p:ph type="title"/>
          </p:nvPr>
        </p:nvSpPr>
        <p:spPr/>
        <p:txBody>
          <a:bodyPr/>
          <a:lstStyle/>
          <a:p>
            <a:r>
              <a:rPr lang="en-US"/>
              <a:t>Data Volume</a:t>
            </a:r>
            <a:endParaRPr lang="en-NL"/>
          </a:p>
        </p:txBody>
      </p:sp>
    </p:spTree>
    <p:extLst>
      <p:ext uri="{BB962C8B-B14F-4D97-AF65-F5344CB8AC3E}">
        <p14:creationId xmlns:p14="http://schemas.microsoft.com/office/powerpoint/2010/main" val="379685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B595404-6FC4-4ECC-B99B-F47FB04E6DB3}"/>
              </a:ext>
            </a:extLst>
          </p:cNvPr>
          <p:cNvGrpSpPr/>
          <p:nvPr/>
        </p:nvGrpSpPr>
        <p:grpSpPr>
          <a:xfrm>
            <a:off x="457778" y="1189176"/>
            <a:ext cx="11277600" cy="522386"/>
            <a:chOff x="457200" y="1895261"/>
            <a:chExt cx="11277600" cy="522386"/>
          </a:xfrm>
        </p:grpSpPr>
        <p:sp>
          <p:nvSpPr>
            <p:cNvPr id="10" name="Rectangle 9">
              <a:extLst>
                <a:ext uri="{FF2B5EF4-FFF2-40B4-BE49-F238E27FC236}">
                  <a16:creationId xmlns:a16="http://schemas.microsoft.com/office/drawing/2014/main" id="{53EC6F74-4994-4365-BF20-3ACC76EB7EDA}"/>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What data entities are planned for migration? How many records are currently planned to migrate?  </a:t>
              </a:r>
            </a:p>
          </p:txBody>
        </p:sp>
        <p:grpSp>
          <p:nvGrpSpPr>
            <p:cNvPr id="16" name="Group 15">
              <a:extLst>
                <a:ext uri="{FF2B5EF4-FFF2-40B4-BE49-F238E27FC236}">
                  <a16:creationId xmlns:a16="http://schemas.microsoft.com/office/drawing/2014/main" id="{E1449417-CA8C-4ECF-AE6E-2A0CC814C783}"/>
                </a:ext>
              </a:extLst>
            </p:cNvPr>
            <p:cNvGrpSpPr/>
            <p:nvPr/>
          </p:nvGrpSpPr>
          <p:grpSpPr>
            <a:xfrm>
              <a:off x="457200" y="1993398"/>
              <a:ext cx="326112" cy="326112"/>
              <a:chOff x="115497" y="1864737"/>
              <a:chExt cx="461744" cy="461744"/>
            </a:xfrm>
            <a:solidFill>
              <a:schemeClr val="tx2"/>
            </a:solidFill>
          </p:grpSpPr>
          <p:sp>
            <p:nvSpPr>
              <p:cNvPr id="17" name="Freeform: Shape 16">
                <a:extLst>
                  <a:ext uri="{FF2B5EF4-FFF2-40B4-BE49-F238E27FC236}">
                    <a16:creationId xmlns:a16="http://schemas.microsoft.com/office/drawing/2014/main" id="{687318F3-DB52-4AD6-A5BB-CA7C4EF4083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Graphic 77">
                <a:extLst>
                  <a:ext uri="{FF2B5EF4-FFF2-40B4-BE49-F238E27FC236}">
                    <a16:creationId xmlns:a16="http://schemas.microsoft.com/office/drawing/2014/main" id="{56EE8CD9-07FB-4E3A-A281-F9F13737F5D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Data Volume</a:t>
            </a:r>
          </a:p>
        </p:txBody>
      </p:sp>
      <p:sp>
        <p:nvSpPr>
          <p:cNvPr id="11" name="Rectangle 10">
            <a:extLst>
              <a:ext uri="{FF2B5EF4-FFF2-40B4-BE49-F238E27FC236}">
                <a16:creationId xmlns:a16="http://schemas.microsoft.com/office/drawing/2014/main" id="{76583F2C-13BC-4FA8-A9DE-F1F764C38F10}"/>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marL="0" indent="0" algn="ctr" defTabSz="932472" fontAlgn="base">
              <a:lnSpc>
                <a:spcPct val="90000"/>
              </a:lnSpc>
              <a:spcBef>
                <a:spcPct val="0"/>
              </a:spcBef>
              <a:spcAft>
                <a:spcPct val="0"/>
              </a:spcAft>
              <a:buNone/>
            </a:pPr>
            <a:r>
              <a:rPr lang="en-GB" sz="1600">
                <a:solidFill>
                  <a:schemeClr val="bg2">
                    <a:lumMod val="25000"/>
                  </a:schemeClr>
                </a:solidFill>
                <a:ea typeface="Segoe UI" pitchFamily="34" charset="0"/>
                <a:cs typeface="Segoe UI" pitchFamily="34" charset="0"/>
              </a:rPr>
              <a:t>See Solution Blueprint Template.xlsx</a:t>
            </a:r>
          </a:p>
          <a:p>
            <a:pPr marL="0" indent="0" algn="ctr" defTabSz="932472" fontAlgn="base">
              <a:lnSpc>
                <a:spcPct val="90000"/>
              </a:lnSpc>
              <a:spcBef>
                <a:spcPct val="0"/>
              </a:spcBef>
              <a:spcAft>
                <a:spcPct val="0"/>
              </a:spcAft>
              <a:buNone/>
            </a:pPr>
            <a:r>
              <a:rPr lang="en-GB" sz="1600" i="1" dirty="0">
                <a:solidFill>
                  <a:schemeClr val="bg2">
                    <a:lumMod val="25000"/>
                  </a:schemeClr>
                </a:solidFill>
                <a:ea typeface="Segoe UI" pitchFamily="34" charset="0"/>
                <a:cs typeface="Segoe UI" pitchFamily="34" charset="0"/>
              </a:rPr>
              <a:t>Please review and update the numbers.</a:t>
            </a:r>
          </a:p>
          <a:p>
            <a:pPr marL="0" indent="0" algn="ctr" defTabSz="932472" fontAlgn="base">
              <a:lnSpc>
                <a:spcPct val="90000"/>
              </a:lnSpc>
              <a:spcBef>
                <a:spcPct val="0"/>
              </a:spcBef>
              <a:spcAft>
                <a:spcPct val="0"/>
              </a:spcAft>
              <a:buNone/>
            </a:pPr>
            <a:endParaRPr lang="en-GB" sz="1600" i="1" dirty="0">
              <a:solidFill>
                <a:schemeClr val="bg2">
                  <a:lumMod val="25000"/>
                </a:schemeClr>
              </a:solidFill>
              <a:ea typeface="Segoe UI" pitchFamily="34" charset="0"/>
              <a:cs typeface="Segoe UI" pitchFamily="34" charset="0"/>
            </a:endParaRPr>
          </a:p>
          <a:p>
            <a:pPr marL="0" indent="0" algn="ctr" defTabSz="932472" fontAlgn="base">
              <a:lnSpc>
                <a:spcPct val="90000"/>
              </a:lnSpc>
              <a:spcBef>
                <a:spcPct val="0"/>
              </a:spcBef>
              <a:spcAft>
                <a:spcPct val="0"/>
              </a:spcAft>
              <a:buNone/>
            </a:pPr>
            <a:r>
              <a:rPr lang="en-GB" sz="1600" dirty="0">
                <a:solidFill>
                  <a:schemeClr val="bg2">
                    <a:lumMod val="25000"/>
                  </a:schemeClr>
                </a:solidFill>
                <a:highlight>
                  <a:srgbClr val="FFFF00"/>
                </a:highlight>
                <a:ea typeface="Segoe UI" pitchFamily="34" charset="0"/>
                <a:cs typeface="Segoe UI" pitchFamily="34" charset="0"/>
              </a:rPr>
              <a:t>SA: Please attach the latest SBR document to the invite</a:t>
            </a:r>
          </a:p>
        </p:txBody>
      </p:sp>
    </p:spTree>
    <p:extLst>
      <p:ext uri="{BB962C8B-B14F-4D97-AF65-F5344CB8AC3E}">
        <p14:creationId xmlns:p14="http://schemas.microsoft.com/office/powerpoint/2010/main" val="259656628"/>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B595404-6FC4-4ECC-B99B-F47FB04E6DB3}"/>
              </a:ext>
            </a:extLst>
          </p:cNvPr>
          <p:cNvGrpSpPr/>
          <p:nvPr/>
        </p:nvGrpSpPr>
        <p:grpSpPr>
          <a:xfrm>
            <a:off x="457778" y="1189176"/>
            <a:ext cx="11277600" cy="522386"/>
            <a:chOff x="457200" y="1895261"/>
            <a:chExt cx="11277600" cy="522386"/>
          </a:xfrm>
        </p:grpSpPr>
        <p:sp>
          <p:nvSpPr>
            <p:cNvPr id="10" name="Rectangle 9">
              <a:extLst>
                <a:ext uri="{FF2B5EF4-FFF2-40B4-BE49-F238E27FC236}">
                  <a16:creationId xmlns:a16="http://schemas.microsoft.com/office/drawing/2014/main" id="{53EC6F74-4994-4365-BF20-3ACC76EB7EDA}"/>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ow do you approach the migration of high volumes of data? </a:t>
              </a:r>
            </a:p>
          </p:txBody>
        </p:sp>
        <p:grpSp>
          <p:nvGrpSpPr>
            <p:cNvPr id="16" name="Group 15">
              <a:extLst>
                <a:ext uri="{FF2B5EF4-FFF2-40B4-BE49-F238E27FC236}">
                  <a16:creationId xmlns:a16="http://schemas.microsoft.com/office/drawing/2014/main" id="{E1449417-CA8C-4ECF-AE6E-2A0CC814C783}"/>
                </a:ext>
              </a:extLst>
            </p:cNvPr>
            <p:cNvGrpSpPr/>
            <p:nvPr/>
          </p:nvGrpSpPr>
          <p:grpSpPr>
            <a:xfrm>
              <a:off x="457200" y="1993398"/>
              <a:ext cx="326112" cy="326112"/>
              <a:chOff x="115497" y="1864737"/>
              <a:chExt cx="461744" cy="461744"/>
            </a:xfrm>
            <a:solidFill>
              <a:schemeClr val="tx2"/>
            </a:solidFill>
          </p:grpSpPr>
          <p:sp>
            <p:nvSpPr>
              <p:cNvPr id="17" name="Freeform: Shape 16">
                <a:extLst>
                  <a:ext uri="{FF2B5EF4-FFF2-40B4-BE49-F238E27FC236}">
                    <a16:creationId xmlns:a16="http://schemas.microsoft.com/office/drawing/2014/main" id="{687318F3-DB52-4AD6-A5BB-CA7C4EF4083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Graphic 77">
                <a:extLst>
                  <a:ext uri="{FF2B5EF4-FFF2-40B4-BE49-F238E27FC236}">
                    <a16:creationId xmlns:a16="http://schemas.microsoft.com/office/drawing/2014/main" id="{56EE8CD9-07FB-4E3A-A281-F9F13737F5D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Data Volume</a:t>
            </a:r>
          </a:p>
        </p:txBody>
      </p:sp>
      <p:sp>
        <p:nvSpPr>
          <p:cNvPr id="11" name="Rectangle 10">
            <a:extLst>
              <a:ext uri="{FF2B5EF4-FFF2-40B4-BE49-F238E27FC236}">
                <a16:creationId xmlns:a16="http://schemas.microsoft.com/office/drawing/2014/main" id="{76583F2C-13BC-4FA8-A9DE-F1F764C38F10}"/>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a:p>
            <a:pPr algn="ctr"/>
            <a:br>
              <a:rPr lang="en-US" sz="1600">
                <a:solidFill>
                  <a:schemeClr val="tx1"/>
                </a:solidFill>
              </a:rPr>
            </a:br>
            <a:r>
              <a:rPr lang="en-US" sz="1600">
                <a:solidFill>
                  <a:schemeClr val="tx1"/>
                </a:solidFill>
              </a:rPr>
              <a:t>(See slide notes for additional information)</a:t>
            </a:r>
          </a:p>
          <a:p>
            <a:pPr algn="ctr"/>
            <a:endParaRPr lang="en-US" sz="1600">
              <a:solidFill>
                <a:schemeClr val="tx1"/>
              </a:solidFill>
            </a:endParaRPr>
          </a:p>
        </p:txBody>
      </p:sp>
    </p:spTree>
    <p:extLst>
      <p:ext uri="{BB962C8B-B14F-4D97-AF65-F5344CB8AC3E}">
        <p14:creationId xmlns:p14="http://schemas.microsoft.com/office/powerpoint/2010/main" val="147878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AA5C70-A028-4B6C-ABB0-6C80B40ABCDB}"/>
              </a:ext>
            </a:extLst>
          </p:cNvPr>
          <p:cNvSpPr>
            <a:spLocks noGrp="1"/>
          </p:cNvSpPr>
          <p:nvPr>
            <p:ph type="title"/>
          </p:nvPr>
        </p:nvSpPr>
        <p:spPr/>
        <p:txBody>
          <a:bodyPr/>
          <a:lstStyle/>
          <a:p>
            <a:r>
              <a:rPr lang="en-US"/>
              <a:t>Tooling</a:t>
            </a:r>
            <a:endParaRPr lang="en-NL"/>
          </a:p>
        </p:txBody>
      </p:sp>
    </p:spTree>
    <p:extLst>
      <p:ext uri="{BB962C8B-B14F-4D97-AF65-F5344CB8AC3E}">
        <p14:creationId xmlns:p14="http://schemas.microsoft.com/office/powerpoint/2010/main" val="3491997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Tooling</a:t>
            </a:r>
          </a:p>
        </p:txBody>
      </p:sp>
      <p:cxnSp>
        <p:nvCxnSpPr>
          <p:cNvPr id="32" name="Straight Connector 31">
            <a:extLst>
              <a:ext uri="{FF2B5EF4-FFF2-40B4-BE49-F238E27FC236}">
                <a16:creationId xmlns:a16="http://schemas.microsoft.com/office/drawing/2014/main" id="{F2C05614-389C-48AD-A023-B2A0E026B0AA}"/>
              </a:ext>
            </a:extLst>
          </p:cNvPr>
          <p:cNvCxnSpPr>
            <a:cxnSpLocks/>
          </p:cNvCxnSpPr>
          <p:nvPr/>
        </p:nvCxnSpPr>
        <p:spPr>
          <a:xfrm>
            <a:off x="457200" y="2163411"/>
            <a:ext cx="11277600" cy="0"/>
          </a:xfrm>
          <a:prstGeom prst="line">
            <a:avLst/>
          </a:prstGeom>
          <a:noFill/>
          <a:ln w="3175">
            <a:solidFill>
              <a:schemeClr val="bg1">
                <a:lumMod val="85000"/>
              </a:schemeClr>
            </a:solidFill>
            <a:prstDash val="dash"/>
          </a:ln>
        </p:spPr>
      </p:cxnSp>
      <p:cxnSp>
        <p:nvCxnSpPr>
          <p:cNvPr id="33" name="Straight Connector 32">
            <a:extLst>
              <a:ext uri="{FF2B5EF4-FFF2-40B4-BE49-F238E27FC236}">
                <a16:creationId xmlns:a16="http://schemas.microsoft.com/office/drawing/2014/main" id="{CF2B8574-B56C-47A5-92D5-326EE0A19AB7}"/>
              </a:ext>
            </a:extLst>
          </p:cNvPr>
          <p:cNvCxnSpPr>
            <a:cxnSpLocks/>
          </p:cNvCxnSpPr>
          <p:nvPr/>
        </p:nvCxnSpPr>
        <p:spPr>
          <a:xfrm>
            <a:off x="457200" y="3106896"/>
            <a:ext cx="11277600" cy="0"/>
          </a:xfrm>
          <a:prstGeom prst="line">
            <a:avLst/>
          </a:prstGeom>
          <a:noFill/>
          <a:ln w="3175">
            <a:solidFill>
              <a:schemeClr val="bg1">
                <a:lumMod val="85000"/>
              </a:schemeClr>
            </a:solidFill>
            <a:prstDash val="dash"/>
          </a:ln>
        </p:spPr>
      </p:cxnSp>
      <p:cxnSp>
        <p:nvCxnSpPr>
          <p:cNvPr id="34" name="Straight Connector 33">
            <a:extLst>
              <a:ext uri="{FF2B5EF4-FFF2-40B4-BE49-F238E27FC236}">
                <a16:creationId xmlns:a16="http://schemas.microsoft.com/office/drawing/2014/main" id="{699A7D01-100F-4767-A0E0-0F52A5CED2F2}"/>
              </a:ext>
            </a:extLst>
          </p:cNvPr>
          <p:cNvCxnSpPr>
            <a:cxnSpLocks/>
          </p:cNvCxnSpPr>
          <p:nvPr/>
        </p:nvCxnSpPr>
        <p:spPr>
          <a:xfrm>
            <a:off x="457200" y="4050381"/>
            <a:ext cx="11277600" cy="0"/>
          </a:xfrm>
          <a:prstGeom prst="line">
            <a:avLst/>
          </a:prstGeom>
          <a:noFill/>
          <a:ln w="3175">
            <a:solidFill>
              <a:schemeClr val="bg1">
                <a:lumMod val="85000"/>
              </a:schemeClr>
            </a:solidFill>
            <a:prstDash val="dash"/>
          </a:ln>
        </p:spPr>
      </p:cxnSp>
      <p:cxnSp>
        <p:nvCxnSpPr>
          <p:cNvPr id="35" name="Straight Connector 34">
            <a:extLst>
              <a:ext uri="{FF2B5EF4-FFF2-40B4-BE49-F238E27FC236}">
                <a16:creationId xmlns:a16="http://schemas.microsoft.com/office/drawing/2014/main" id="{EA85159A-2FB8-48E2-AB17-5A97DB44ED87}"/>
              </a:ext>
            </a:extLst>
          </p:cNvPr>
          <p:cNvCxnSpPr>
            <a:cxnSpLocks/>
          </p:cNvCxnSpPr>
          <p:nvPr/>
        </p:nvCxnSpPr>
        <p:spPr>
          <a:xfrm>
            <a:off x="457200" y="4993866"/>
            <a:ext cx="11277600" cy="0"/>
          </a:xfrm>
          <a:prstGeom prst="line">
            <a:avLst/>
          </a:prstGeom>
          <a:noFill/>
          <a:ln w="3175">
            <a:solidFill>
              <a:schemeClr val="bg1">
                <a:lumMod val="85000"/>
              </a:schemeClr>
            </a:solidFill>
            <a:prstDash val="dash"/>
          </a:ln>
        </p:spPr>
      </p:cxnSp>
      <p:grpSp>
        <p:nvGrpSpPr>
          <p:cNvPr id="36" name="Group 35">
            <a:extLst>
              <a:ext uri="{FF2B5EF4-FFF2-40B4-BE49-F238E27FC236}">
                <a16:creationId xmlns:a16="http://schemas.microsoft.com/office/drawing/2014/main" id="{400543B6-BC34-4299-9434-C406643738C2}"/>
              </a:ext>
            </a:extLst>
          </p:cNvPr>
          <p:cNvGrpSpPr/>
          <p:nvPr/>
        </p:nvGrpSpPr>
        <p:grpSpPr>
          <a:xfrm>
            <a:off x="457200" y="1430300"/>
            <a:ext cx="6218238" cy="338554"/>
            <a:chOff x="457200" y="2141483"/>
            <a:chExt cx="6218238" cy="338554"/>
          </a:xfrm>
        </p:grpSpPr>
        <p:sp>
          <p:nvSpPr>
            <p:cNvPr id="37" name="Rectangle 36">
              <a:extLst>
                <a:ext uri="{FF2B5EF4-FFF2-40B4-BE49-F238E27FC236}">
                  <a16:creationId xmlns:a16="http://schemas.microsoft.com/office/drawing/2014/main" id="{CE42D0AB-7452-4392-BC3A-2FBF53935176}"/>
                </a:ext>
              </a:extLst>
            </p:cNvPr>
            <p:cNvSpPr/>
            <p:nvPr/>
          </p:nvSpPr>
          <p:spPr>
            <a:xfrm>
              <a:off x="506805" y="2141483"/>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Tools for extracting data</a:t>
              </a:r>
            </a:p>
          </p:txBody>
        </p:sp>
        <p:grpSp>
          <p:nvGrpSpPr>
            <p:cNvPr id="38" name="Group 37">
              <a:extLst>
                <a:ext uri="{FF2B5EF4-FFF2-40B4-BE49-F238E27FC236}">
                  <a16:creationId xmlns:a16="http://schemas.microsoft.com/office/drawing/2014/main" id="{AF4D6372-099F-4A89-81B5-7772E77A1D2C}"/>
                </a:ext>
              </a:extLst>
            </p:cNvPr>
            <p:cNvGrpSpPr/>
            <p:nvPr/>
          </p:nvGrpSpPr>
          <p:grpSpPr>
            <a:xfrm>
              <a:off x="457200" y="2147704"/>
              <a:ext cx="326112" cy="326112"/>
              <a:chOff x="115497" y="1864737"/>
              <a:chExt cx="461744" cy="461744"/>
            </a:xfrm>
            <a:solidFill>
              <a:schemeClr val="tx2"/>
            </a:solidFill>
          </p:grpSpPr>
          <p:sp>
            <p:nvSpPr>
              <p:cNvPr id="39" name="Freeform: Shape 38">
                <a:extLst>
                  <a:ext uri="{FF2B5EF4-FFF2-40B4-BE49-F238E27FC236}">
                    <a16:creationId xmlns:a16="http://schemas.microsoft.com/office/drawing/2014/main" id="{B9F334DF-232A-4F4C-B439-45CBEAB5BB4A}"/>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Graphic 77">
                <a:extLst>
                  <a:ext uri="{FF2B5EF4-FFF2-40B4-BE49-F238E27FC236}">
                    <a16:creationId xmlns:a16="http://schemas.microsoft.com/office/drawing/2014/main" id="{5C6FAA89-87C8-474A-9767-01282290439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41" name="Group 40">
            <a:extLst>
              <a:ext uri="{FF2B5EF4-FFF2-40B4-BE49-F238E27FC236}">
                <a16:creationId xmlns:a16="http://schemas.microsoft.com/office/drawing/2014/main" id="{53E51435-1702-4A8C-B241-7759D9397E40}"/>
              </a:ext>
            </a:extLst>
          </p:cNvPr>
          <p:cNvGrpSpPr/>
          <p:nvPr/>
        </p:nvGrpSpPr>
        <p:grpSpPr>
          <a:xfrm>
            <a:off x="457200" y="2465876"/>
            <a:ext cx="6218238" cy="338554"/>
            <a:chOff x="457200" y="3084968"/>
            <a:chExt cx="6218238" cy="338554"/>
          </a:xfrm>
        </p:grpSpPr>
        <p:sp>
          <p:nvSpPr>
            <p:cNvPr id="42" name="Rectangle 41">
              <a:extLst>
                <a:ext uri="{FF2B5EF4-FFF2-40B4-BE49-F238E27FC236}">
                  <a16:creationId xmlns:a16="http://schemas.microsoft.com/office/drawing/2014/main" id="{221C6D26-819F-4A58-A25B-6B980AF63BC6}"/>
                </a:ext>
              </a:extLst>
            </p:cNvPr>
            <p:cNvSpPr/>
            <p:nvPr/>
          </p:nvSpPr>
          <p:spPr>
            <a:xfrm>
              <a:off x="506805" y="3084968"/>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Tools for transforming data</a:t>
              </a:r>
            </a:p>
          </p:txBody>
        </p:sp>
        <p:grpSp>
          <p:nvGrpSpPr>
            <p:cNvPr id="43" name="Group 42">
              <a:extLst>
                <a:ext uri="{FF2B5EF4-FFF2-40B4-BE49-F238E27FC236}">
                  <a16:creationId xmlns:a16="http://schemas.microsoft.com/office/drawing/2014/main" id="{88208CF6-EDEA-4479-8077-6793560EB83C}"/>
                </a:ext>
              </a:extLst>
            </p:cNvPr>
            <p:cNvGrpSpPr/>
            <p:nvPr/>
          </p:nvGrpSpPr>
          <p:grpSpPr>
            <a:xfrm>
              <a:off x="457200" y="3091189"/>
              <a:ext cx="326112" cy="326112"/>
              <a:chOff x="115497" y="1864737"/>
              <a:chExt cx="461744" cy="461744"/>
            </a:xfrm>
            <a:solidFill>
              <a:schemeClr val="tx2"/>
            </a:solidFill>
          </p:grpSpPr>
          <p:sp>
            <p:nvSpPr>
              <p:cNvPr id="44" name="Freeform: Shape 43">
                <a:extLst>
                  <a:ext uri="{FF2B5EF4-FFF2-40B4-BE49-F238E27FC236}">
                    <a16:creationId xmlns:a16="http://schemas.microsoft.com/office/drawing/2014/main" id="{75F3343D-E652-4D66-828C-6BA46C9659A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Graphic 77">
                <a:extLst>
                  <a:ext uri="{FF2B5EF4-FFF2-40B4-BE49-F238E27FC236}">
                    <a16:creationId xmlns:a16="http://schemas.microsoft.com/office/drawing/2014/main" id="{00585827-09ED-4A94-AC30-98C4E15A560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47" name="Group 46">
            <a:extLst>
              <a:ext uri="{FF2B5EF4-FFF2-40B4-BE49-F238E27FC236}">
                <a16:creationId xmlns:a16="http://schemas.microsoft.com/office/drawing/2014/main" id="{4F86ACE5-F663-4109-A82D-4E928919B334}"/>
              </a:ext>
            </a:extLst>
          </p:cNvPr>
          <p:cNvGrpSpPr/>
          <p:nvPr/>
        </p:nvGrpSpPr>
        <p:grpSpPr>
          <a:xfrm>
            <a:off x="457200" y="4352846"/>
            <a:ext cx="6218238" cy="338554"/>
            <a:chOff x="457200" y="4848827"/>
            <a:chExt cx="6218238" cy="338554"/>
          </a:xfrm>
        </p:grpSpPr>
        <p:sp>
          <p:nvSpPr>
            <p:cNvPr id="48" name="Rectangle 47">
              <a:extLst>
                <a:ext uri="{FF2B5EF4-FFF2-40B4-BE49-F238E27FC236}">
                  <a16:creationId xmlns:a16="http://schemas.microsoft.com/office/drawing/2014/main" id="{7E5CB00B-19B5-4FEC-80FF-940E8DAF0250}"/>
                </a:ext>
              </a:extLst>
            </p:cNvPr>
            <p:cNvSpPr/>
            <p:nvPr/>
          </p:nvSpPr>
          <p:spPr>
            <a:xfrm>
              <a:off x="506805" y="4848827"/>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Tools for copying data between environments. </a:t>
              </a:r>
            </a:p>
          </p:txBody>
        </p:sp>
        <p:grpSp>
          <p:nvGrpSpPr>
            <p:cNvPr id="49" name="Group 48">
              <a:extLst>
                <a:ext uri="{FF2B5EF4-FFF2-40B4-BE49-F238E27FC236}">
                  <a16:creationId xmlns:a16="http://schemas.microsoft.com/office/drawing/2014/main" id="{3508C763-BBF0-4AAB-856F-A0DF7E7F2A3C}"/>
                </a:ext>
              </a:extLst>
            </p:cNvPr>
            <p:cNvGrpSpPr/>
            <p:nvPr/>
          </p:nvGrpSpPr>
          <p:grpSpPr>
            <a:xfrm>
              <a:off x="457200" y="4855048"/>
              <a:ext cx="326112" cy="326112"/>
              <a:chOff x="457200" y="4953637"/>
              <a:chExt cx="326112" cy="326112"/>
            </a:xfrm>
          </p:grpSpPr>
          <p:sp>
            <p:nvSpPr>
              <p:cNvPr id="50" name="Freeform: Shape 49">
                <a:extLst>
                  <a:ext uri="{FF2B5EF4-FFF2-40B4-BE49-F238E27FC236}">
                    <a16:creationId xmlns:a16="http://schemas.microsoft.com/office/drawing/2014/main" id="{A70F079D-F73E-4429-A3F1-2B7F65F083E2}"/>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1" name="Graphic 77">
                <a:extLst>
                  <a:ext uri="{FF2B5EF4-FFF2-40B4-BE49-F238E27FC236}">
                    <a16:creationId xmlns:a16="http://schemas.microsoft.com/office/drawing/2014/main" id="{F1706874-C180-4DBF-9B62-B0D962DBF11B}"/>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a:p>
            </p:txBody>
          </p:sp>
        </p:grpSp>
      </p:grpSp>
      <p:sp>
        <p:nvSpPr>
          <p:cNvPr id="52" name="Rectangle 51">
            <a:extLst>
              <a:ext uri="{FF2B5EF4-FFF2-40B4-BE49-F238E27FC236}">
                <a16:creationId xmlns:a16="http://schemas.microsoft.com/office/drawing/2014/main" id="{56436D73-829E-438E-AE79-D88C49494BCA}"/>
              </a:ext>
            </a:extLst>
          </p:cNvPr>
          <p:cNvSpPr/>
          <p:nvPr/>
        </p:nvSpPr>
        <p:spPr>
          <a:xfrm>
            <a:off x="6810998" y="4099176"/>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rPr>
              <a:t>Add detailed info</a:t>
            </a:r>
          </a:p>
        </p:txBody>
      </p:sp>
      <p:grpSp>
        <p:nvGrpSpPr>
          <p:cNvPr id="53" name="Group 52">
            <a:extLst>
              <a:ext uri="{FF2B5EF4-FFF2-40B4-BE49-F238E27FC236}">
                <a16:creationId xmlns:a16="http://schemas.microsoft.com/office/drawing/2014/main" id="{AB527A31-C35C-4945-AABE-BB4DD9AF735B}"/>
              </a:ext>
            </a:extLst>
          </p:cNvPr>
          <p:cNvGrpSpPr/>
          <p:nvPr/>
        </p:nvGrpSpPr>
        <p:grpSpPr>
          <a:xfrm>
            <a:off x="457200" y="5296334"/>
            <a:ext cx="6218238" cy="338554"/>
            <a:chOff x="457200" y="5787537"/>
            <a:chExt cx="6218238" cy="338554"/>
          </a:xfrm>
        </p:grpSpPr>
        <p:sp>
          <p:nvSpPr>
            <p:cNvPr id="54" name="Rectangle 53">
              <a:extLst>
                <a:ext uri="{FF2B5EF4-FFF2-40B4-BE49-F238E27FC236}">
                  <a16:creationId xmlns:a16="http://schemas.microsoft.com/office/drawing/2014/main" id="{CE106E87-5845-4974-9575-AFD9EF2A8ACA}"/>
                </a:ext>
              </a:extLst>
            </p:cNvPr>
            <p:cNvSpPr/>
            <p:nvPr/>
          </p:nvSpPr>
          <p:spPr>
            <a:xfrm>
              <a:off x="506805" y="5787537"/>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Tools for copying / synchronizing data between applications</a:t>
              </a:r>
            </a:p>
          </p:txBody>
        </p:sp>
        <p:grpSp>
          <p:nvGrpSpPr>
            <p:cNvPr id="55" name="Group 54">
              <a:extLst>
                <a:ext uri="{FF2B5EF4-FFF2-40B4-BE49-F238E27FC236}">
                  <a16:creationId xmlns:a16="http://schemas.microsoft.com/office/drawing/2014/main" id="{DEEE0993-8587-4B1B-9E66-C9C0D57FF36D}"/>
                </a:ext>
              </a:extLst>
            </p:cNvPr>
            <p:cNvGrpSpPr/>
            <p:nvPr/>
          </p:nvGrpSpPr>
          <p:grpSpPr>
            <a:xfrm>
              <a:off x="457200" y="5793758"/>
              <a:ext cx="326112" cy="326112"/>
              <a:chOff x="115497" y="1864737"/>
              <a:chExt cx="461744" cy="461744"/>
            </a:xfrm>
            <a:solidFill>
              <a:schemeClr val="tx2"/>
            </a:solidFill>
          </p:grpSpPr>
          <p:sp>
            <p:nvSpPr>
              <p:cNvPr id="56" name="Freeform: Shape 55">
                <a:extLst>
                  <a:ext uri="{FF2B5EF4-FFF2-40B4-BE49-F238E27FC236}">
                    <a16:creationId xmlns:a16="http://schemas.microsoft.com/office/drawing/2014/main" id="{EDA5356B-D2F2-4C8D-9858-CDB23CE86C5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7" name="Graphic 77">
                <a:extLst>
                  <a:ext uri="{FF2B5EF4-FFF2-40B4-BE49-F238E27FC236}">
                    <a16:creationId xmlns:a16="http://schemas.microsoft.com/office/drawing/2014/main" id="{77DFE0D6-1407-4366-BF60-2E681737AFC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58" name="Rectangle 57">
            <a:extLst>
              <a:ext uri="{FF2B5EF4-FFF2-40B4-BE49-F238E27FC236}">
                <a16:creationId xmlns:a16="http://schemas.microsoft.com/office/drawing/2014/main" id="{328DBF5F-9DBF-4AD4-AC18-9352FAC129AD}"/>
              </a:ext>
            </a:extLst>
          </p:cNvPr>
          <p:cNvSpPr/>
          <p:nvPr/>
        </p:nvSpPr>
        <p:spPr>
          <a:xfrm>
            <a:off x="6810998" y="5042664"/>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rPr>
              <a:t>Add detailed info</a:t>
            </a:r>
          </a:p>
        </p:txBody>
      </p:sp>
      <p:sp>
        <p:nvSpPr>
          <p:cNvPr id="59" name="Rectangle 58">
            <a:extLst>
              <a:ext uri="{FF2B5EF4-FFF2-40B4-BE49-F238E27FC236}">
                <a16:creationId xmlns:a16="http://schemas.microsoft.com/office/drawing/2014/main" id="{40EBEB94-9834-4BBF-97B1-656CDC7ADAE5}"/>
              </a:ext>
            </a:extLst>
          </p:cNvPr>
          <p:cNvSpPr/>
          <p:nvPr/>
        </p:nvSpPr>
        <p:spPr>
          <a:xfrm>
            <a:off x="6810998" y="1268721"/>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rPr>
              <a:t>Add detailed info</a:t>
            </a:r>
          </a:p>
        </p:txBody>
      </p:sp>
      <p:sp>
        <p:nvSpPr>
          <p:cNvPr id="60" name="Rectangle 59">
            <a:extLst>
              <a:ext uri="{FF2B5EF4-FFF2-40B4-BE49-F238E27FC236}">
                <a16:creationId xmlns:a16="http://schemas.microsoft.com/office/drawing/2014/main" id="{FBE556BD-C124-4A6A-99F0-2BE2C03CCAC8}"/>
              </a:ext>
            </a:extLst>
          </p:cNvPr>
          <p:cNvSpPr/>
          <p:nvPr/>
        </p:nvSpPr>
        <p:spPr>
          <a:xfrm>
            <a:off x="6810998" y="2212206"/>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rPr>
              <a:t>Add detailed info</a:t>
            </a:r>
          </a:p>
        </p:txBody>
      </p:sp>
      <p:grpSp>
        <p:nvGrpSpPr>
          <p:cNvPr id="61" name="Group 60">
            <a:extLst>
              <a:ext uri="{FF2B5EF4-FFF2-40B4-BE49-F238E27FC236}">
                <a16:creationId xmlns:a16="http://schemas.microsoft.com/office/drawing/2014/main" id="{19150DA2-B8DD-4522-AF8E-0176F647C2AF}"/>
              </a:ext>
            </a:extLst>
          </p:cNvPr>
          <p:cNvGrpSpPr/>
          <p:nvPr/>
        </p:nvGrpSpPr>
        <p:grpSpPr>
          <a:xfrm>
            <a:off x="457200" y="3409361"/>
            <a:ext cx="6218238" cy="338554"/>
            <a:chOff x="457200" y="4028453"/>
            <a:chExt cx="6218238" cy="338554"/>
          </a:xfrm>
        </p:grpSpPr>
        <p:sp>
          <p:nvSpPr>
            <p:cNvPr id="62" name="Rectangle 61">
              <a:extLst>
                <a:ext uri="{FF2B5EF4-FFF2-40B4-BE49-F238E27FC236}">
                  <a16:creationId xmlns:a16="http://schemas.microsoft.com/office/drawing/2014/main" id="{114E2F3B-923E-4452-862E-0112691AF3B4}"/>
                </a:ext>
              </a:extLst>
            </p:cNvPr>
            <p:cNvSpPr/>
            <p:nvPr/>
          </p:nvSpPr>
          <p:spPr>
            <a:xfrm>
              <a:off x="506805" y="4028453"/>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Tools for loading data </a:t>
              </a:r>
            </a:p>
          </p:txBody>
        </p:sp>
        <p:grpSp>
          <p:nvGrpSpPr>
            <p:cNvPr id="63" name="Group 62">
              <a:extLst>
                <a:ext uri="{FF2B5EF4-FFF2-40B4-BE49-F238E27FC236}">
                  <a16:creationId xmlns:a16="http://schemas.microsoft.com/office/drawing/2014/main" id="{678056BE-B4B1-4EDB-BFC9-156909E6AA8C}"/>
                </a:ext>
              </a:extLst>
            </p:cNvPr>
            <p:cNvGrpSpPr/>
            <p:nvPr/>
          </p:nvGrpSpPr>
          <p:grpSpPr>
            <a:xfrm>
              <a:off x="457200" y="4034674"/>
              <a:ext cx="326112" cy="326112"/>
              <a:chOff x="457200" y="4267823"/>
              <a:chExt cx="326112" cy="326112"/>
            </a:xfrm>
          </p:grpSpPr>
          <p:sp>
            <p:nvSpPr>
              <p:cNvPr id="64" name="Freeform: Shape 63">
                <a:extLst>
                  <a:ext uri="{FF2B5EF4-FFF2-40B4-BE49-F238E27FC236}">
                    <a16:creationId xmlns:a16="http://schemas.microsoft.com/office/drawing/2014/main" id="{D56660F0-F730-418D-AC94-6EE391EBF902}"/>
                  </a:ext>
                </a:extLst>
              </p:cNvPr>
              <p:cNvSpPr/>
              <p:nvPr/>
            </p:nvSpPr>
            <p:spPr bwMode="auto">
              <a:xfrm>
                <a:off x="457200" y="4267823"/>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 name="Graphic 77">
                <a:extLst>
                  <a:ext uri="{FF2B5EF4-FFF2-40B4-BE49-F238E27FC236}">
                    <a16:creationId xmlns:a16="http://schemas.microsoft.com/office/drawing/2014/main" id="{85213B31-6D65-49AE-A490-6173C29F5814}"/>
                  </a:ext>
                </a:extLst>
              </p:cNvPr>
              <p:cNvSpPr/>
              <p:nvPr/>
            </p:nvSpPr>
            <p:spPr>
              <a:xfrm>
                <a:off x="538631" y="436636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a:p>
            </p:txBody>
          </p:sp>
        </p:grpSp>
      </p:grpSp>
      <p:sp>
        <p:nvSpPr>
          <p:cNvPr id="66" name="Rectangle 65">
            <a:extLst>
              <a:ext uri="{FF2B5EF4-FFF2-40B4-BE49-F238E27FC236}">
                <a16:creationId xmlns:a16="http://schemas.microsoft.com/office/drawing/2014/main" id="{96ADE966-EDDA-4AB8-95B8-7C5BF42B1741}"/>
              </a:ext>
            </a:extLst>
          </p:cNvPr>
          <p:cNvSpPr/>
          <p:nvPr/>
        </p:nvSpPr>
        <p:spPr>
          <a:xfrm>
            <a:off x="6810998" y="3155691"/>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rPr>
              <a:t>Add detailed info</a:t>
            </a:r>
          </a:p>
        </p:txBody>
      </p:sp>
      <p:cxnSp>
        <p:nvCxnSpPr>
          <p:cNvPr id="45" name="Straight Connector 44">
            <a:extLst>
              <a:ext uri="{FF2B5EF4-FFF2-40B4-BE49-F238E27FC236}">
                <a16:creationId xmlns:a16="http://schemas.microsoft.com/office/drawing/2014/main" id="{AEC30CB7-8E51-47E9-AE99-B87C0CC669FF}"/>
              </a:ext>
            </a:extLst>
          </p:cNvPr>
          <p:cNvCxnSpPr>
            <a:cxnSpLocks/>
          </p:cNvCxnSpPr>
          <p:nvPr/>
        </p:nvCxnSpPr>
        <p:spPr>
          <a:xfrm>
            <a:off x="448733" y="5906268"/>
            <a:ext cx="11277600" cy="0"/>
          </a:xfrm>
          <a:prstGeom prst="line">
            <a:avLst/>
          </a:prstGeom>
          <a:noFill/>
          <a:ln w="3175">
            <a:solidFill>
              <a:schemeClr val="bg1">
                <a:lumMod val="85000"/>
              </a:schemeClr>
            </a:solidFill>
            <a:prstDash val="dash"/>
          </a:ln>
        </p:spPr>
      </p:cxnSp>
      <p:grpSp>
        <p:nvGrpSpPr>
          <p:cNvPr id="67" name="Group 66">
            <a:extLst>
              <a:ext uri="{FF2B5EF4-FFF2-40B4-BE49-F238E27FC236}">
                <a16:creationId xmlns:a16="http://schemas.microsoft.com/office/drawing/2014/main" id="{931EE8B7-0E5E-4303-B908-E80BB7E85F2B}"/>
              </a:ext>
            </a:extLst>
          </p:cNvPr>
          <p:cNvGrpSpPr/>
          <p:nvPr/>
        </p:nvGrpSpPr>
        <p:grpSpPr>
          <a:xfrm>
            <a:off x="448733" y="6085626"/>
            <a:ext cx="6218238" cy="584775"/>
            <a:chOff x="457200" y="5664427"/>
            <a:chExt cx="6218238" cy="584775"/>
          </a:xfrm>
        </p:grpSpPr>
        <p:sp>
          <p:nvSpPr>
            <p:cNvPr id="68" name="Rectangle 67">
              <a:extLst>
                <a:ext uri="{FF2B5EF4-FFF2-40B4-BE49-F238E27FC236}">
                  <a16:creationId xmlns:a16="http://schemas.microsoft.com/office/drawing/2014/main" id="{D520D6AE-B564-45F6-9AF2-96AD29E17E73}"/>
                </a:ext>
              </a:extLst>
            </p:cNvPr>
            <p:cNvSpPr/>
            <p:nvPr/>
          </p:nvSpPr>
          <p:spPr>
            <a:xfrm>
              <a:off x="506805" y="5664427"/>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Tools </a:t>
              </a:r>
              <a:r>
                <a:rPr lang="en-US" sz="1600">
                  <a:solidFill>
                    <a:schemeClr val="tx1"/>
                  </a:solidFill>
                </a:rPr>
                <a:t>for copying / </a:t>
              </a:r>
              <a:r>
                <a:rPr lang="en-US" sz="1600" dirty="0">
                  <a:solidFill>
                    <a:schemeClr val="tx1"/>
                  </a:solidFill>
                </a:rPr>
                <a:t>synchronizing data between legal entities in the same environment</a:t>
              </a:r>
            </a:p>
          </p:txBody>
        </p:sp>
        <p:grpSp>
          <p:nvGrpSpPr>
            <p:cNvPr id="69" name="Group 68">
              <a:extLst>
                <a:ext uri="{FF2B5EF4-FFF2-40B4-BE49-F238E27FC236}">
                  <a16:creationId xmlns:a16="http://schemas.microsoft.com/office/drawing/2014/main" id="{2D32826D-D4FD-453B-859D-1FCFBA30CA31}"/>
                </a:ext>
              </a:extLst>
            </p:cNvPr>
            <p:cNvGrpSpPr/>
            <p:nvPr/>
          </p:nvGrpSpPr>
          <p:grpSpPr>
            <a:xfrm>
              <a:off x="457200" y="5793758"/>
              <a:ext cx="326112" cy="326112"/>
              <a:chOff x="115497" y="1864737"/>
              <a:chExt cx="461744" cy="461744"/>
            </a:xfrm>
            <a:solidFill>
              <a:schemeClr val="tx2"/>
            </a:solidFill>
          </p:grpSpPr>
          <p:sp>
            <p:nvSpPr>
              <p:cNvPr id="70" name="Freeform: Shape 69">
                <a:extLst>
                  <a:ext uri="{FF2B5EF4-FFF2-40B4-BE49-F238E27FC236}">
                    <a16:creationId xmlns:a16="http://schemas.microsoft.com/office/drawing/2014/main" id="{3C1D36FD-110F-4536-836E-3050E39F6A7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1" name="Graphic 77">
                <a:extLst>
                  <a:ext uri="{FF2B5EF4-FFF2-40B4-BE49-F238E27FC236}">
                    <a16:creationId xmlns:a16="http://schemas.microsoft.com/office/drawing/2014/main" id="{287AE963-0C10-4693-AA3D-CD3BB3FC4C3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72" name="Rectangle 71">
            <a:extLst>
              <a:ext uri="{FF2B5EF4-FFF2-40B4-BE49-F238E27FC236}">
                <a16:creationId xmlns:a16="http://schemas.microsoft.com/office/drawing/2014/main" id="{981E366D-E5AD-4E19-9523-1427E9F301F5}"/>
              </a:ext>
            </a:extLst>
          </p:cNvPr>
          <p:cNvSpPr/>
          <p:nvPr/>
        </p:nvSpPr>
        <p:spPr>
          <a:xfrm>
            <a:off x="6802531" y="5955066"/>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rPr>
              <a:t>Add detailed info</a:t>
            </a:r>
          </a:p>
        </p:txBody>
      </p:sp>
    </p:spTree>
    <p:extLst>
      <p:ext uri="{BB962C8B-B14F-4D97-AF65-F5344CB8AC3E}">
        <p14:creationId xmlns:p14="http://schemas.microsoft.com/office/powerpoint/2010/main" val="3021527048"/>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AA5C70-A028-4B6C-ABB0-6C80B40ABCDB}"/>
              </a:ext>
            </a:extLst>
          </p:cNvPr>
          <p:cNvSpPr>
            <a:spLocks noGrp="1"/>
          </p:cNvSpPr>
          <p:nvPr>
            <p:ph type="title"/>
          </p:nvPr>
        </p:nvSpPr>
        <p:spPr/>
        <p:txBody>
          <a:bodyPr/>
          <a:lstStyle/>
          <a:p>
            <a:r>
              <a:rPr lang="en-US"/>
              <a:t>Performance</a:t>
            </a:r>
            <a:endParaRPr lang="en-NL"/>
          </a:p>
        </p:txBody>
      </p:sp>
    </p:spTree>
    <p:extLst>
      <p:ext uri="{BB962C8B-B14F-4D97-AF65-F5344CB8AC3E}">
        <p14:creationId xmlns:p14="http://schemas.microsoft.com/office/powerpoint/2010/main" val="2568543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B595404-6FC4-4ECC-B99B-F47FB04E6DB3}"/>
              </a:ext>
            </a:extLst>
          </p:cNvPr>
          <p:cNvGrpSpPr/>
          <p:nvPr/>
        </p:nvGrpSpPr>
        <p:grpSpPr>
          <a:xfrm>
            <a:off x="457778" y="1189176"/>
            <a:ext cx="11277600" cy="522386"/>
            <a:chOff x="457200" y="1895261"/>
            <a:chExt cx="11277600" cy="522386"/>
          </a:xfrm>
        </p:grpSpPr>
        <p:sp>
          <p:nvSpPr>
            <p:cNvPr id="10" name="Rectangle 9">
              <a:extLst>
                <a:ext uri="{FF2B5EF4-FFF2-40B4-BE49-F238E27FC236}">
                  <a16:creationId xmlns:a16="http://schemas.microsoft.com/office/drawing/2014/main" id="{53EC6F74-4994-4365-BF20-3ACC76EB7EDA}"/>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Infrastructure considerations</a:t>
              </a:r>
            </a:p>
          </p:txBody>
        </p:sp>
        <p:grpSp>
          <p:nvGrpSpPr>
            <p:cNvPr id="16" name="Group 15">
              <a:extLst>
                <a:ext uri="{FF2B5EF4-FFF2-40B4-BE49-F238E27FC236}">
                  <a16:creationId xmlns:a16="http://schemas.microsoft.com/office/drawing/2014/main" id="{E1449417-CA8C-4ECF-AE6E-2A0CC814C783}"/>
                </a:ext>
              </a:extLst>
            </p:cNvPr>
            <p:cNvGrpSpPr/>
            <p:nvPr/>
          </p:nvGrpSpPr>
          <p:grpSpPr>
            <a:xfrm>
              <a:off x="457200" y="1993398"/>
              <a:ext cx="326112" cy="326112"/>
              <a:chOff x="115497" y="1864737"/>
              <a:chExt cx="461744" cy="461744"/>
            </a:xfrm>
            <a:solidFill>
              <a:schemeClr val="tx2"/>
            </a:solidFill>
          </p:grpSpPr>
          <p:sp>
            <p:nvSpPr>
              <p:cNvPr id="17" name="Freeform: Shape 16">
                <a:extLst>
                  <a:ext uri="{FF2B5EF4-FFF2-40B4-BE49-F238E27FC236}">
                    <a16:creationId xmlns:a16="http://schemas.microsoft.com/office/drawing/2014/main" id="{687318F3-DB52-4AD6-A5BB-CA7C4EF4083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Graphic 77">
                <a:extLst>
                  <a:ext uri="{FF2B5EF4-FFF2-40B4-BE49-F238E27FC236}">
                    <a16:creationId xmlns:a16="http://schemas.microsoft.com/office/drawing/2014/main" id="{56EE8CD9-07FB-4E3A-A281-F9F13737F5D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Performance</a:t>
            </a:r>
          </a:p>
        </p:txBody>
      </p:sp>
      <p:sp>
        <p:nvSpPr>
          <p:cNvPr id="11" name="Rectangle 10">
            <a:extLst>
              <a:ext uri="{FF2B5EF4-FFF2-40B4-BE49-F238E27FC236}">
                <a16:creationId xmlns:a16="http://schemas.microsoft.com/office/drawing/2014/main" id="{76583F2C-13BC-4FA8-A9DE-F1F764C38F10}"/>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dirty="0">
                <a:solidFill>
                  <a:schemeClr val="tx1"/>
                </a:solidFill>
              </a:rPr>
              <a:t>Add Info</a:t>
            </a:r>
          </a:p>
          <a:p>
            <a:pPr algn="ctr"/>
            <a:br>
              <a:rPr lang="en-US" sz="1600" dirty="0">
                <a:solidFill>
                  <a:schemeClr val="tx1"/>
                </a:solidFill>
              </a:rPr>
            </a:br>
            <a:r>
              <a:rPr lang="en-US" sz="1600" dirty="0">
                <a:solidFill>
                  <a:schemeClr val="tx1"/>
                </a:solidFill>
              </a:rPr>
              <a:t>(See slide notes for additional information)</a:t>
            </a:r>
          </a:p>
          <a:p>
            <a:pPr algn="ctr"/>
            <a:endParaRPr lang="en-US" sz="1600" dirty="0">
              <a:solidFill>
                <a:schemeClr val="tx1"/>
              </a:solidFill>
            </a:endParaRPr>
          </a:p>
        </p:txBody>
      </p:sp>
    </p:spTree>
    <p:extLst>
      <p:ext uri="{BB962C8B-B14F-4D97-AF65-F5344CB8AC3E}">
        <p14:creationId xmlns:p14="http://schemas.microsoft.com/office/powerpoint/2010/main" val="69220512"/>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177907F9-2172-46A3-AEA0-8DD4122F217B}"/>
              </a:ext>
            </a:extLst>
          </p:cNvPr>
          <p:cNvSpPr/>
          <p:nvPr/>
        </p:nvSpPr>
        <p:spPr>
          <a:xfrm>
            <a:off x="6127541" y="1218387"/>
            <a:ext cx="5613527" cy="514055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defTabSz="932597"/>
            <a:r>
              <a:rPr lang="en-US" sz="1600" dirty="0">
                <a:ea typeface="+mn-lt"/>
                <a:cs typeface="+mn-lt"/>
              </a:rPr>
              <a:t>Strategy workshop is designed to help ensure that the project team’s approach to data migration is following best practices, including timing, to avoid data migration performance issues, understanding of business goals, and awareness on realistic throughput</a:t>
            </a:r>
            <a:endParaRPr lang="en-US" dirty="0"/>
          </a:p>
        </p:txBody>
      </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cs typeface="Segoe UI"/>
              </a:rPr>
              <a:t>Data Migration Strategy Workshop Agenda</a:t>
            </a:r>
          </a:p>
        </p:txBody>
      </p:sp>
      <p:sp>
        <p:nvSpPr>
          <p:cNvPr id="40" name="Rectangle 39">
            <a:extLst>
              <a:ext uri="{FF2B5EF4-FFF2-40B4-BE49-F238E27FC236}">
                <a16:creationId xmlns:a16="http://schemas.microsoft.com/office/drawing/2014/main" id="{8550DF09-0D7B-4F8E-8ACF-13567A221AF3}"/>
              </a:ext>
            </a:extLst>
          </p:cNvPr>
          <p:cNvSpPr/>
          <p:nvPr/>
        </p:nvSpPr>
        <p:spPr>
          <a:xfrm>
            <a:off x="1500053" y="1374543"/>
            <a:ext cx="4621220"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US" sz="2000">
                <a:ln w="3175">
                  <a:noFill/>
                </a:ln>
                <a:solidFill>
                  <a:schemeClr val="accent2"/>
                </a:solidFill>
                <a:latin typeface="Segoe UI Semibold"/>
                <a:cs typeface="Segoe UI" pitchFamily="34" charset="0"/>
              </a:rPr>
              <a:t>Agenda</a:t>
            </a:r>
          </a:p>
        </p:txBody>
      </p:sp>
      <p:sp>
        <p:nvSpPr>
          <p:cNvPr id="42" name="Rectangle: Rounded Corners 14">
            <a:extLst>
              <a:ext uri="{FF2B5EF4-FFF2-40B4-BE49-F238E27FC236}">
                <a16:creationId xmlns:a16="http://schemas.microsoft.com/office/drawing/2014/main" id="{FCCFC8E7-228A-485F-B89E-E8B4B03CC681}"/>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5906ADDC-D360-4A0F-91FF-B494A9B96AC6}"/>
              </a:ext>
            </a:extLst>
          </p:cNvPr>
          <p:cNvCxnSpPr>
            <a:cxnSpLocks/>
          </p:cNvCxnSpPr>
          <p:nvPr/>
        </p:nvCxnSpPr>
        <p:spPr>
          <a:xfrm>
            <a:off x="1494318" y="1349375"/>
            <a:ext cx="0" cy="494513"/>
          </a:xfrm>
          <a:prstGeom prst="line">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a:extLst>
              <a:ext uri="{FF2B5EF4-FFF2-40B4-BE49-F238E27FC236}">
                <a16:creationId xmlns:a16="http://schemas.microsoft.com/office/drawing/2014/main" id="{4A8E8564-839D-4D78-B946-D71D10D7FB42}"/>
              </a:ext>
            </a:extLst>
          </p:cNvPr>
          <p:cNvCxnSpPr>
            <a:cxnSpLocks/>
          </p:cNvCxnSpPr>
          <p:nvPr/>
        </p:nvCxnSpPr>
        <p:spPr>
          <a:xfrm>
            <a:off x="1" y="1858175"/>
            <a:ext cx="6121272"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B913BBF-6FE9-4291-9E49-F6769461052B}"/>
              </a:ext>
            </a:extLst>
          </p:cNvPr>
          <p:cNvCxnSpPr>
            <a:cxnSpLocks/>
          </p:cNvCxnSpPr>
          <p:nvPr/>
        </p:nvCxnSpPr>
        <p:spPr>
          <a:xfrm>
            <a:off x="457200" y="2362313"/>
            <a:ext cx="5664073" cy="0"/>
          </a:xfrm>
          <a:prstGeom prst="line">
            <a:avLst/>
          </a:prstGeom>
          <a:noFill/>
          <a:ln w="3175">
            <a:solidFill>
              <a:schemeClr val="bg1">
                <a:lumMod val="85000"/>
              </a:schemeClr>
            </a:solidFill>
            <a:prstDash val="dash"/>
          </a:ln>
        </p:spPr>
      </p:cxnSp>
      <p:cxnSp>
        <p:nvCxnSpPr>
          <p:cNvPr id="47" name="Straight Connector 46">
            <a:extLst>
              <a:ext uri="{FF2B5EF4-FFF2-40B4-BE49-F238E27FC236}">
                <a16:creationId xmlns:a16="http://schemas.microsoft.com/office/drawing/2014/main" id="{C8DEDC1E-B9F9-418B-93EA-03CEE8A48BB4}"/>
              </a:ext>
            </a:extLst>
          </p:cNvPr>
          <p:cNvCxnSpPr>
            <a:cxnSpLocks/>
          </p:cNvCxnSpPr>
          <p:nvPr/>
        </p:nvCxnSpPr>
        <p:spPr>
          <a:xfrm>
            <a:off x="457200" y="2862927"/>
            <a:ext cx="5664073" cy="0"/>
          </a:xfrm>
          <a:prstGeom prst="line">
            <a:avLst/>
          </a:prstGeom>
          <a:noFill/>
          <a:ln w="3175">
            <a:solidFill>
              <a:schemeClr val="bg1">
                <a:lumMod val="85000"/>
              </a:schemeClr>
            </a:solidFill>
            <a:prstDash val="dash"/>
          </a:ln>
        </p:spPr>
      </p:cxnSp>
      <p:cxnSp>
        <p:nvCxnSpPr>
          <p:cNvPr id="48" name="Straight Connector 47">
            <a:extLst>
              <a:ext uri="{FF2B5EF4-FFF2-40B4-BE49-F238E27FC236}">
                <a16:creationId xmlns:a16="http://schemas.microsoft.com/office/drawing/2014/main" id="{7354E8F2-26A2-4CCA-89B8-65B9B53DA07B}"/>
              </a:ext>
            </a:extLst>
          </p:cNvPr>
          <p:cNvCxnSpPr>
            <a:cxnSpLocks/>
          </p:cNvCxnSpPr>
          <p:nvPr/>
        </p:nvCxnSpPr>
        <p:spPr>
          <a:xfrm>
            <a:off x="457200" y="3350841"/>
            <a:ext cx="5664073" cy="0"/>
          </a:xfrm>
          <a:prstGeom prst="line">
            <a:avLst/>
          </a:prstGeom>
          <a:noFill/>
          <a:ln w="3175">
            <a:solidFill>
              <a:schemeClr val="bg1">
                <a:lumMod val="85000"/>
              </a:schemeClr>
            </a:solidFill>
            <a:prstDash val="dash"/>
          </a:ln>
        </p:spPr>
      </p:cxnSp>
      <p:cxnSp>
        <p:nvCxnSpPr>
          <p:cNvPr id="49" name="Straight Connector 48">
            <a:extLst>
              <a:ext uri="{FF2B5EF4-FFF2-40B4-BE49-F238E27FC236}">
                <a16:creationId xmlns:a16="http://schemas.microsoft.com/office/drawing/2014/main" id="{F03F52E1-9D12-4CD8-9AFB-DF3694F8E8DF}"/>
              </a:ext>
            </a:extLst>
          </p:cNvPr>
          <p:cNvCxnSpPr>
            <a:cxnSpLocks/>
          </p:cNvCxnSpPr>
          <p:nvPr/>
        </p:nvCxnSpPr>
        <p:spPr>
          <a:xfrm>
            <a:off x="457200" y="3835580"/>
            <a:ext cx="5664073" cy="0"/>
          </a:xfrm>
          <a:prstGeom prst="line">
            <a:avLst/>
          </a:prstGeom>
          <a:noFill/>
          <a:ln w="3175">
            <a:solidFill>
              <a:schemeClr val="bg1">
                <a:lumMod val="85000"/>
              </a:schemeClr>
            </a:solidFill>
            <a:prstDash val="dash"/>
          </a:ln>
        </p:spPr>
      </p:cxnSp>
      <p:cxnSp>
        <p:nvCxnSpPr>
          <p:cNvPr id="52" name="Straight Connector 51">
            <a:extLst>
              <a:ext uri="{FF2B5EF4-FFF2-40B4-BE49-F238E27FC236}">
                <a16:creationId xmlns:a16="http://schemas.microsoft.com/office/drawing/2014/main" id="{721FE680-81D2-484D-B86E-D8BCF74079FD}"/>
              </a:ext>
            </a:extLst>
          </p:cNvPr>
          <p:cNvCxnSpPr>
            <a:cxnSpLocks/>
          </p:cNvCxnSpPr>
          <p:nvPr/>
        </p:nvCxnSpPr>
        <p:spPr>
          <a:xfrm>
            <a:off x="457200" y="4325688"/>
            <a:ext cx="5664073" cy="0"/>
          </a:xfrm>
          <a:prstGeom prst="line">
            <a:avLst/>
          </a:prstGeom>
          <a:noFill/>
          <a:ln w="3175">
            <a:solidFill>
              <a:schemeClr val="bg1">
                <a:lumMod val="85000"/>
              </a:schemeClr>
            </a:solidFill>
            <a:prstDash val="dash"/>
          </a:ln>
        </p:spPr>
      </p:cxnSp>
      <p:cxnSp>
        <p:nvCxnSpPr>
          <p:cNvPr id="53" name="Straight Connector 52">
            <a:extLst>
              <a:ext uri="{FF2B5EF4-FFF2-40B4-BE49-F238E27FC236}">
                <a16:creationId xmlns:a16="http://schemas.microsoft.com/office/drawing/2014/main" id="{76FF7EC1-B2EB-4DC5-B055-C580BB6B5166}"/>
              </a:ext>
            </a:extLst>
          </p:cNvPr>
          <p:cNvCxnSpPr>
            <a:cxnSpLocks/>
          </p:cNvCxnSpPr>
          <p:nvPr/>
        </p:nvCxnSpPr>
        <p:spPr>
          <a:xfrm>
            <a:off x="457200" y="4809911"/>
            <a:ext cx="5664073" cy="0"/>
          </a:xfrm>
          <a:prstGeom prst="line">
            <a:avLst/>
          </a:prstGeom>
          <a:noFill/>
          <a:ln w="3175">
            <a:solidFill>
              <a:schemeClr val="bg1">
                <a:lumMod val="85000"/>
              </a:schemeClr>
            </a:solidFill>
            <a:prstDash val="dash"/>
          </a:ln>
        </p:spPr>
      </p:cxnSp>
      <p:grpSp>
        <p:nvGrpSpPr>
          <p:cNvPr id="54" name="Group 53">
            <a:extLst>
              <a:ext uri="{FF2B5EF4-FFF2-40B4-BE49-F238E27FC236}">
                <a16:creationId xmlns:a16="http://schemas.microsoft.com/office/drawing/2014/main" id="{E3151547-6629-4A30-85D7-9026BFEC7DB1}"/>
              </a:ext>
            </a:extLst>
          </p:cNvPr>
          <p:cNvGrpSpPr/>
          <p:nvPr/>
        </p:nvGrpSpPr>
        <p:grpSpPr>
          <a:xfrm>
            <a:off x="506805" y="1922691"/>
            <a:ext cx="5613527" cy="489411"/>
            <a:chOff x="506805" y="1895263"/>
            <a:chExt cx="5613527" cy="522386"/>
          </a:xfrm>
        </p:grpSpPr>
        <p:sp>
          <p:nvSpPr>
            <p:cNvPr id="55" name="Rectangle 54">
              <a:extLst>
                <a:ext uri="{FF2B5EF4-FFF2-40B4-BE49-F238E27FC236}">
                  <a16:creationId xmlns:a16="http://schemas.microsoft.com/office/drawing/2014/main" id="{D909AFD3-772D-428E-8735-D3CC0F3F9928}"/>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Data Management Strategy</a:t>
              </a:r>
            </a:p>
          </p:txBody>
        </p:sp>
        <p:grpSp>
          <p:nvGrpSpPr>
            <p:cNvPr id="56" name="Group 55">
              <a:extLst>
                <a:ext uri="{FF2B5EF4-FFF2-40B4-BE49-F238E27FC236}">
                  <a16:creationId xmlns:a16="http://schemas.microsoft.com/office/drawing/2014/main" id="{343C8747-F64E-4A18-A94A-9D3F8224370C}"/>
                </a:ext>
              </a:extLst>
            </p:cNvPr>
            <p:cNvGrpSpPr/>
            <p:nvPr/>
          </p:nvGrpSpPr>
          <p:grpSpPr>
            <a:xfrm>
              <a:off x="730757" y="1993401"/>
              <a:ext cx="326112" cy="326112"/>
              <a:chOff x="115497" y="1864735"/>
              <a:chExt cx="461744" cy="461743"/>
            </a:xfrm>
            <a:solidFill>
              <a:schemeClr val="tx2"/>
            </a:solidFill>
          </p:grpSpPr>
          <p:sp>
            <p:nvSpPr>
              <p:cNvPr id="57" name="Freeform: Shape 56">
                <a:extLst>
                  <a:ext uri="{FF2B5EF4-FFF2-40B4-BE49-F238E27FC236}">
                    <a16:creationId xmlns:a16="http://schemas.microsoft.com/office/drawing/2014/main" id="{9A72F8EA-291F-4570-84D1-25DC141B48F8}"/>
                  </a:ext>
                </a:extLst>
              </p:cNvPr>
              <p:cNvSpPr/>
              <p:nvPr/>
            </p:nvSpPr>
            <p:spPr bwMode="auto">
              <a:xfrm>
                <a:off x="115497" y="1864735"/>
                <a:ext cx="461744" cy="461743"/>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Graphic 77">
                <a:extLst>
                  <a:ext uri="{FF2B5EF4-FFF2-40B4-BE49-F238E27FC236}">
                    <a16:creationId xmlns:a16="http://schemas.microsoft.com/office/drawing/2014/main" id="{9A88097F-834B-41ED-84A6-F60654AB22D0}"/>
                  </a:ext>
                </a:extLst>
              </p:cNvPr>
              <p:cNvSpPr/>
              <p:nvPr/>
            </p:nvSpPr>
            <p:spPr>
              <a:xfrm>
                <a:off x="230796" y="2004260"/>
                <a:ext cx="243074" cy="175238"/>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59" name="Group 58">
            <a:extLst>
              <a:ext uri="{FF2B5EF4-FFF2-40B4-BE49-F238E27FC236}">
                <a16:creationId xmlns:a16="http://schemas.microsoft.com/office/drawing/2014/main" id="{77ACF46A-463D-47C7-864A-28AF0D80B0C8}"/>
              </a:ext>
            </a:extLst>
          </p:cNvPr>
          <p:cNvGrpSpPr/>
          <p:nvPr/>
        </p:nvGrpSpPr>
        <p:grpSpPr>
          <a:xfrm>
            <a:off x="506805" y="2404742"/>
            <a:ext cx="5613527" cy="489411"/>
            <a:chOff x="506805" y="2480613"/>
            <a:chExt cx="5613527" cy="522386"/>
          </a:xfrm>
        </p:grpSpPr>
        <p:sp>
          <p:nvSpPr>
            <p:cNvPr id="60" name="Rectangle 59">
              <a:extLst>
                <a:ext uri="{FF2B5EF4-FFF2-40B4-BE49-F238E27FC236}">
                  <a16:creationId xmlns:a16="http://schemas.microsoft.com/office/drawing/2014/main" id="{1F0B6B51-41D8-4F93-878F-BACE5D1A7680}"/>
                </a:ext>
              </a:extLst>
            </p:cNvPr>
            <p:cNvSpPr/>
            <p:nvPr/>
          </p:nvSpPr>
          <p:spPr>
            <a:xfrm>
              <a:off x="506805" y="248061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Planning and Strategy</a:t>
              </a:r>
            </a:p>
          </p:txBody>
        </p:sp>
        <p:grpSp>
          <p:nvGrpSpPr>
            <p:cNvPr id="61" name="Group 60">
              <a:extLst>
                <a:ext uri="{FF2B5EF4-FFF2-40B4-BE49-F238E27FC236}">
                  <a16:creationId xmlns:a16="http://schemas.microsoft.com/office/drawing/2014/main" id="{B49BE7D1-9561-4827-9078-39A70C6194FC}"/>
                </a:ext>
              </a:extLst>
            </p:cNvPr>
            <p:cNvGrpSpPr/>
            <p:nvPr/>
          </p:nvGrpSpPr>
          <p:grpSpPr>
            <a:xfrm>
              <a:off x="730757" y="2578750"/>
              <a:ext cx="326112" cy="326112"/>
              <a:chOff x="115497" y="1864737"/>
              <a:chExt cx="461744" cy="461744"/>
            </a:xfrm>
            <a:solidFill>
              <a:schemeClr val="tx2"/>
            </a:solidFill>
          </p:grpSpPr>
          <p:sp>
            <p:nvSpPr>
              <p:cNvPr id="62" name="Freeform: Shape 61">
                <a:extLst>
                  <a:ext uri="{FF2B5EF4-FFF2-40B4-BE49-F238E27FC236}">
                    <a16:creationId xmlns:a16="http://schemas.microsoft.com/office/drawing/2014/main" id="{915A3C2A-BC9A-43BD-88E3-EE63266915B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3" name="Graphic 77">
                <a:extLst>
                  <a:ext uri="{FF2B5EF4-FFF2-40B4-BE49-F238E27FC236}">
                    <a16:creationId xmlns:a16="http://schemas.microsoft.com/office/drawing/2014/main" id="{30FA6A06-94D8-41F5-A50E-579C8331442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64" name="Group 63">
            <a:extLst>
              <a:ext uri="{FF2B5EF4-FFF2-40B4-BE49-F238E27FC236}">
                <a16:creationId xmlns:a16="http://schemas.microsoft.com/office/drawing/2014/main" id="{C25BF092-9D17-40D4-AEA1-85E84CD38EE6}"/>
              </a:ext>
            </a:extLst>
          </p:cNvPr>
          <p:cNvGrpSpPr/>
          <p:nvPr/>
        </p:nvGrpSpPr>
        <p:grpSpPr>
          <a:xfrm>
            <a:off x="506805" y="2901694"/>
            <a:ext cx="5613527" cy="489411"/>
            <a:chOff x="506805" y="3065963"/>
            <a:chExt cx="5613527" cy="522386"/>
          </a:xfrm>
        </p:grpSpPr>
        <p:sp>
          <p:nvSpPr>
            <p:cNvPr id="65" name="Rectangle 64">
              <a:extLst>
                <a:ext uri="{FF2B5EF4-FFF2-40B4-BE49-F238E27FC236}">
                  <a16:creationId xmlns:a16="http://schemas.microsoft.com/office/drawing/2014/main" id="{54341627-CD8C-4D9B-8381-28743BCFFBF1}"/>
                </a:ext>
              </a:extLst>
            </p:cNvPr>
            <p:cNvSpPr/>
            <p:nvPr/>
          </p:nvSpPr>
          <p:spPr>
            <a:xfrm>
              <a:off x="506805" y="30659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Data Volume</a:t>
              </a:r>
            </a:p>
          </p:txBody>
        </p:sp>
        <p:grpSp>
          <p:nvGrpSpPr>
            <p:cNvPr id="66" name="Group 65">
              <a:extLst>
                <a:ext uri="{FF2B5EF4-FFF2-40B4-BE49-F238E27FC236}">
                  <a16:creationId xmlns:a16="http://schemas.microsoft.com/office/drawing/2014/main" id="{3E8DCA24-F689-4F52-AC15-9977600BCF8E}"/>
                </a:ext>
              </a:extLst>
            </p:cNvPr>
            <p:cNvGrpSpPr/>
            <p:nvPr/>
          </p:nvGrpSpPr>
          <p:grpSpPr>
            <a:xfrm>
              <a:off x="730757" y="3164100"/>
              <a:ext cx="326112" cy="326112"/>
              <a:chOff x="115497" y="1864737"/>
              <a:chExt cx="461744" cy="461744"/>
            </a:xfrm>
            <a:solidFill>
              <a:schemeClr val="tx2"/>
            </a:solidFill>
          </p:grpSpPr>
          <p:sp>
            <p:nvSpPr>
              <p:cNvPr id="67" name="Freeform: Shape 66">
                <a:extLst>
                  <a:ext uri="{FF2B5EF4-FFF2-40B4-BE49-F238E27FC236}">
                    <a16:creationId xmlns:a16="http://schemas.microsoft.com/office/drawing/2014/main" id="{B2BD1EA2-61E0-4EC2-AD0B-094D0B9C4D0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8" name="Graphic 77">
                <a:extLst>
                  <a:ext uri="{FF2B5EF4-FFF2-40B4-BE49-F238E27FC236}">
                    <a16:creationId xmlns:a16="http://schemas.microsoft.com/office/drawing/2014/main" id="{B6DB75E1-7967-41AB-8FD6-5430FCE3018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69" name="Group 68">
            <a:extLst>
              <a:ext uri="{FF2B5EF4-FFF2-40B4-BE49-F238E27FC236}">
                <a16:creationId xmlns:a16="http://schemas.microsoft.com/office/drawing/2014/main" id="{199D9518-4245-48DA-AFDC-44848BB4C33A}"/>
              </a:ext>
            </a:extLst>
          </p:cNvPr>
          <p:cNvGrpSpPr/>
          <p:nvPr/>
        </p:nvGrpSpPr>
        <p:grpSpPr>
          <a:xfrm>
            <a:off x="506805" y="3380083"/>
            <a:ext cx="5613527" cy="489411"/>
            <a:chOff x="506805" y="3651313"/>
            <a:chExt cx="5613527" cy="522386"/>
          </a:xfrm>
        </p:grpSpPr>
        <p:sp>
          <p:nvSpPr>
            <p:cNvPr id="70" name="Rectangle 69">
              <a:extLst>
                <a:ext uri="{FF2B5EF4-FFF2-40B4-BE49-F238E27FC236}">
                  <a16:creationId xmlns:a16="http://schemas.microsoft.com/office/drawing/2014/main" id="{1CE81B94-64B5-49BC-8A00-1B321C123F69}"/>
                </a:ext>
              </a:extLst>
            </p:cNvPr>
            <p:cNvSpPr/>
            <p:nvPr/>
          </p:nvSpPr>
          <p:spPr>
            <a:xfrm>
              <a:off x="506805" y="365131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Tooling</a:t>
              </a:r>
            </a:p>
          </p:txBody>
        </p:sp>
        <p:grpSp>
          <p:nvGrpSpPr>
            <p:cNvPr id="71" name="Group 70">
              <a:extLst>
                <a:ext uri="{FF2B5EF4-FFF2-40B4-BE49-F238E27FC236}">
                  <a16:creationId xmlns:a16="http://schemas.microsoft.com/office/drawing/2014/main" id="{628EF100-B47D-4AE2-B379-E928FBF5CBF8}"/>
                </a:ext>
              </a:extLst>
            </p:cNvPr>
            <p:cNvGrpSpPr/>
            <p:nvPr/>
          </p:nvGrpSpPr>
          <p:grpSpPr>
            <a:xfrm>
              <a:off x="730757" y="3749450"/>
              <a:ext cx="326112" cy="326112"/>
              <a:chOff x="115497" y="1864737"/>
              <a:chExt cx="461744" cy="461744"/>
            </a:xfrm>
            <a:solidFill>
              <a:schemeClr val="tx2"/>
            </a:solidFill>
          </p:grpSpPr>
          <p:sp>
            <p:nvSpPr>
              <p:cNvPr id="72" name="Freeform: Shape 71">
                <a:extLst>
                  <a:ext uri="{FF2B5EF4-FFF2-40B4-BE49-F238E27FC236}">
                    <a16:creationId xmlns:a16="http://schemas.microsoft.com/office/drawing/2014/main" id="{95D38F1C-5C55-4873-BE66-20E7BE3E2ED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3" name="Graphic 77">
                <a:extLst>
                  <a:ext uri="{FF2B5EF4-FFF2-40B4-BE49-F238E27FC236}">
                    <a16:creationId xmlns:a16="http://schemas.microsoft.com/office/drawing/2014/main" id="{E24498CF-9BEE-4E44-B585-1F75DC58AE6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84" name="Group 83">
            <a:extLst>
              <a:ext uri="{FF2B5EF4-FFF2-40B4-BE49-F238E27FC236}">
                <a16:creationId xmlns:a16="http://schemas.microsoft.com/office/drawing/2014/main" id="{95831B84-1C17-4A14-9584-93D7C92B4AC9}"/>
              </a:ext>
            </a:extLst>
          </p:cNvPr>
          <p:cNvGrpSpPr/>
          <p:nvPr/>
        </p:nvGrpSpPr>
        <p:grpSpPr>
          <a:xfrm>
            <a:off x="506805" y="4353378"/>
            <a:ext cx="5613527" cy="489411"/>
            <a:chOff x="506805" y="5407363"/>
            <a:chExt cx="5613527" cy="522386"/>
          </a:xfrm>
        </p:grpSpPr>
        <p:sp>
          <p:nvSpPr>
            <p:cNvPr id="85" name="Rectangle 84">
              <a:extLst>
                <a:ext uri="{FF2B5EF4-FFF2-40B4-BE49-F238E27FC236}">
                  <a16:creationId xmlns:a16="http://schemas.microsoft.com/office/drawing/2014/main" id="{8DE2201B-869B-46E1-9DBD-5685B60F9033}"/>
                </a:ext>
              </a:extLst>
            </p:cNvPr>
            <p:cNvSpPr/>
            <p:nvPr/>
          </p:nvSpPr>
          <p:spPr>
            <a:xfrm>
              <a:off x="506805" y="54073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GB" sz="1600">
                  <a:solidFill>
                    <a:schemeClr val="tx1"/>
                  </a:solidFill>
                </a:rPr>
                <a:t>Data Validation</a:t>
              </a:r>
              <a:endParaRPr lang="en-US"/>
            </a:p>
          </p:txBody>
        </p:sp>
        <p:grpSp>
          <p:nvGrpSpPr>
            <p:cNvPr id="86" name="Group 85">
              <a:extLst>
                <a:ext uri="{FF2B5EF4-FFF2-40B4-BE49-F238E27FC236}">
                  <a16:creationId xmlns:a16="http://schemas.microsoft.com/office/drawing/2014/main" id="{B2369DA4-97F3-49AA-A7F8-1E5CFA46923C}"/>
                </a:ext>
              </a:extLst>
            </p:cNvPr>
            <p:cNvGrpSpPr/>
            <p:nvPr/>
          </p:nvGrpSpPr>
          <p:grpSpPr>
            <a:xfrm>
              <a:off x="730757" y="5505500"/>
              <a:ext cx="326112" cy="326112"/>
              <a:chOff x="115497" y="1864737"/>
              <a:chExt cx="461744" cy="461744"/>
            </a:xfrm>
            <a:solidFill>
              <a:schemeClr val="tx2"/>
            </a:solidFill>
          </p:grpSpPr>
          <p:sp>
            <p:nvSpPr>
              <p:cNvPr id="87" name="Freeform: Shape 86">
                <a:extLst>
                  <a:ext uri="{FF2B5EF4-FFF2-40B4-BE49-F238E27FC236}">
                    <a16:creationId xmlns:a16="http://schemas.microsoft.com/office/drawing/2014/main" id="{907CCD18-B526-49B1-B2D6-EC23F8940C5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8" name="Graphic 77">
                <a:extLst>
                  <a:ext uri="{FF2B5EF4-FFF2-40B4-BE49-F238E27FC236}">
                    <a16:creationId xmlns:a16="http://schemas.microsoft.com/office/drawing/2014/main" id="{B87852BE-A84F-43C9-9B66-6661E392814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89" name="Rectangle 88">
            <a:extLst>
              <a:ext uri="{FF2B5EF4-FFF2-40B4-BE49-F238E27FC236}">
                <a16:creationId xmlns:a16="http://schemas.microsoft.com/office/drawing/2014/main" id="{429D1AB2-FD1C-420E-91FC-D03A20DC1B8B}"/>
              </a:ext>
            </a:extLst>
          </p:cNvPr>
          <p:cNvSpPr/>
          <p:nvPr/>
        </p:nvSpPr>
        <p:spPr>
          <a:xfrm>
            <a:off x="6121273" y="1211265"/>
            <a:ext cx="5613527" cy="1632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endParaRPr lang="en-US" sz="1600">
              <a:solidFill>
                <a:schemeClr val="bg1"/>
              </a:solidFill>
              <a:latin typeface="+mj-lt"/>
            </a:endParaRPr>
          </a:p>
        </p:txBody>
      </p:sp>
      <p:grpSp>
        <p:nvGrpSpPr>
          <p:cNvPr id="93" name="Group 92">
            <a:extLst>
              <a:ext uri="{FF2B5EF4-FFF2-40B4-BE49-F238E27FC236}">
                <a16:creationId xmlns:a16="http://schemas.microsoft.com/office/drawing/2014/main" id="{5E1CA762-CB82-429E-89B2-E95C130A0A2A}"/>
              </a:ext>
            </a:extLst>
          </p:cNvPr>
          <p:cNvGrpSpPr/>
          <p:nvPr/>
        </p:nvGrpSpPr>
        <p:grpSpPr>
          <a:xfrm>
            <a:off x="650727" y="1143371"/>
            <a:ext cx="497036" cy="499600"/>
            <a:chOff x="8121835" y="4193647"/>
            <a:chExt cx="847725" cy="852101"/>
          </a:xfrm>
        </p:grpSpPr>
        <p:sp>
          <p:nvSpPr>
            <p:cNvPr id="94" name="Freeform: Shape 93">
              <a:extLst>
                <a:ext uri="{FF2B5EF4-FFF2-40B4-BE49-F238E27FC236}">
                  <a16:creationId xmlns:a16="http://schemas.microsoft.com/office/drawing/2014/main" id="{435EF289-2D65-4F5A-B305-094781357BB8}"/>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C3AC4F5-B8CF-4C17-AF27-028BA4F2F78A}"/>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3D9CA0F8-45DB-4452-8902-D59EF6987F2E}"/>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AF59A492-AF15-447B-8B4C-3EF2C022C1CB}"/>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44DF95E9-EB5D-45DC-B6C5-FDB46D7810EC}"/>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2DAF00A7-42CB-487A-A46E-4043059D2A8C}"/>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accent4"/>
            </a:solidFill>
            <a:ln w="6572" cap="flat">
              <a:noFill/>
              <a:prstDash val="solid"/>
              <a:miter/>
            </a:ln>
          </p:spPr>
          <p:txBody>
            <a:bodyPr rtlCol="0" anchor="ctr"/>
            <a:lstStyle/>
            <a:p>
              <a:endParaRPr lang="en-US"/>
            </a:p>
          </p:txBody>
        </p:sp>
      </p:grpSp>
      <p:sp>
        <p:nvSpPr>
          <p:cNvPr id="103" name="Rectangle 6">
            <a:extLst>
              <a:ext uri="{FF2B5EF4-FFF2-40B4-BE49-F238E27FC236}">
                <a16:creationId xmlns:a16="http://schemas.microsoft.com/office/drawing/2014/main" id="{58D773B7-673F-419E-B0B9-B5B66FF34DCD}"/>
              </a:ext>
            </a:extLst>
          </p:cNvPr>
          <p:cNvSpPr/>
          <p:nvPr/>
        </p:nvSpPr>
        <p:spPr bwMode="auto">
          <a:xfrm>
            <a:off x="7365322" y="3348057"/>
            <a:ext cx="4369478" cy="1662154"/>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defTabSz="878102" fontAlgn="base">
              <a:spcBef>
                <a:spcPts val="600"/>
              </a:spcBef>
              <a:spcAft>
                <a:spcPts val="600"/>
              </a:spcAft>
              <a:defRPr/>
            </a:pPr>
            <a:r>
              <a:rPr lang="en-US" sz="1600" kern="0" dirty="0">
                <a:solidFill>
                  <a:schemeClr val="tx2"/>
                </a:solidFill>
                <a:latin typeface="+mj-lt"/>
                <a:ea typeface="Segoe UI" pitchFamily="34" charset="0"/>
                <a:cs typeface="Segoe UI"/>
              </a:rPr>
              <a:t>Format: </a:t>
            </a:r>
            <a:r>
              <a:rPr lang="en-US" sz="1600" kern="0" dirty="0">
                <a:highlight>
                  <a:srgbClr val="FFFF00"/>
                </a:highlight>
                <a:ea typeface="Segoe UI" pitchFamily="34" charset="0"/>
                <a:cs typeface="Segoe UI"/>
              </a:rPr>
              <a:t>2 hours</a:t>
            </a:r>
            <a:r>
              <a:rPr lang="en-US" sz="1600" kern="0" dirty="0">
                <a:ea typeface="Segoe UI" pitchFamily="34" charset="0"/>
                <a:cs typeface="Segoe UI"/>
              </a:rPr>
              <a:t> Microsoft Teams call</a:t>
            </a:r>
          </a:p>
          <a:p>
            <a:pPr defTabSz="878102" fontAlgn="base">
              <a:spcBef>
                <a:spcPts val="600"/>
              </a:spcBef>
              <a:spcAft>
                <a:spcPts val="600"/>
              </a:spcAft>
              <a:defRPr/>
            </a:pPr>
            <a:r>
              <a:rPr lang="en-US" sz="1600" kern="0" dirty="0">
                <a:solidFill>
                  <a:schemeClr val="tx2"/>
                </a:solidFill>
                <a:latin typeface="+mj-lt"/>
                <a:ea typeface="Segoe UI" pitchFamily="34" charset="0"/>
                <a:cs typeface="Segoe UI" pitchFamily="34" charset="0"/>
              </a:rPr>
              <a:t>Attendees: </a:t>
            </a:r>
            <a:r>
              <a:rPr lang="en-US" sz="1600" kern="0" dirty="0">
                <a:ea typeface="Segoe UI" pitchFamily="34" charset="0"/>
                <a:cs typeface="Segoe UI" pitchFamily="34" charset="0"/>
              </a:rPr>
              <a:t>Solution architects, functional and technical leads at minimum; project managers, functional leads and other key stakeholders from the customer and </a:t>
            </a:r>
            <a:r>
              <a:rPr lang="en-US" sz="1600" kern="0">
                <a:ea typeface="Segoe UI" pitchFamily="34" charset="0"/>
                <a:cs typeface="Segoe UI" pitchFamily="34" charset="0"/>
              </a:rPr>
              <a:t>partner teams.</a:t>
            </a:r>
            <a:endParaRPr lang="en-US" sz="1600" kern="0" dirty="0">
              <a:ea typeface="Segoe UI" pitchFamily="34" charset="0"/>
              <a:cs typeface="Segoe UI" pitchFamily="34" charset="0"/>
            </a:endParaRPr>
          </a:p>
        </p:txBody>
      </p:sp>
      <p:grpSp>
        <p:nvGrpSpPr>
          <p:cNvPr id="90" name="Group 89">
            <a:extLst>
              <a:ext uri="{FF2B5EF4-FFF2-40B4-BE49-F238E27FC236}">
                <a16:creationId xmlns:a16="http://schemas.microsoft.com/office/drawing/2014/main" id="{AB4443CD-27CA-4DBD-A805-FB445344CC74}"/>
              </a:ext>
            </a:extLst>
          </p:cNvPr>
          <p:cNvGrpSpPr/>
          <p:nvPr/>
        </p:nvGrpSpPr>
        <p:grpSpPr>
          <a:xfrm>
            <a:off x="6472302" y="3735723"/>
            <a:ext cx="809756" cy="809754"/>
            <a:chOff x="6456428" y="2720976"/>
            <a:chExt cx="917704" cy="917702"/>
          </a:xfrm>
        </p:grpSpPr>
        <p:sp>
          <p:nvSpPr>
            <p:cNvPr id="91" name="Freeform: Shape 90">
              <a:extLst>
                <a:ext uri="{FF2B5EF4-FFF2-40B4-BE49-F238E27FC236}">
                  <a16:creationId xmlns:a16="http://schemas.microsoft.com/office/drawing/2014/main" id="{F71E6BB8-F6B2-4A70-9C26-62A830F5F11B}"/>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2" name="Freeform 8">
              <a:extLst>
                <a:ext uri="{FF2B5EF4-FFF2-40B4-BE49-F238E27FC236}">
                  <a16:creationId xmlns:a16="http://schemas.microsoft.com/office/drawing/2014/main" id="{6BDC5852-9503-4CDA-B807-61D5949A5EBC}"/>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104" name="Rectangle: Rounded Corners 12">
            <a:extLst>
              <a:ext uri="{FF2B5EF4-FFF2-40B4-BE49-F238E27FC236}">
                <a16:creationId xmlns:a16="http://schemas.microsoft.com/office/drawing/2014/main" id="{1F9281E3-1F1D-4B02-A80D-710A4BB90B72}"/>
              </a:ext>
            </a:extLst>
          </p:cNvPr>
          <p:cNvSpPr/>
          <p:nvPr/>
        </p:nvSpPr>
        <p:spPr>
          <a:xfrm>
            <a:off x="6130756" y="3685792"/>
            <a:ext cx="105306" cy="911078"/>
          </a:xfrm>
          <a:custGeom>
            <a:avLst/>
            <a:gdLst>
              <a:gd name="connsiteX0" fmla="*/ 0 w 301482"/>
              <a:gd name="connsiteY0" fmla="*/ 150741 h 1304170"/>
              <a:gd name="connsiteX1" fmla="*/ 150741 w 301482"/>
              <a:gd name="connsiteY1" fmla="*/ 0 h 1304170"/>
              <a:gd name="connsiteX2" fmla="*/ 150741 w 301482"/>
              <a:gd name="connsiteY2" fmla="*/ 0 h 1304170"/>
              <a:gd name="connsiteX3" fmla="*/ 301482 w 301482"/>
              <a:gd name="connsiteY3" fmla="*/ 150741 h 1304170"/>
              <a:gd name="connsiteX4" fmla="*/ 301482 w 301482"/>
              <a:gd name="connsiteY4" fmla="*/ 1153429 h 1304170"/>
              <a:gd name="connsiteX5" fmla="*/ 150741 w 301482"/>
              <a:gd name="connsiteY5" fmla="*/ 1304170 h 1304170"/>
              <a:gd name="connsiteX6" fmla="*/ 150741 w 301482"/>
              <a:gd name="connsiteY6" fmla="*/ 1304170 h 1304170"/>
              <a:gd name="connsiteX7" fmla="*/ 0 w 301482"/>
              <a:gd name="connsiteY7" fmla="*/ 1153429 h 1304170"/>
              <a:gd name="connsiteX8" fmla="*/ 0 w 301482"/>
              <a:gd name="connsiteY8"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8" fmla="*/ 242181 w 301482"/>
              <a:gd name="connsiteY8" fmla="*/ 9144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0" fmla="*/ 0 w 150741"/>
              <a:gd name="connsiteY0" fmla="*/ 0 h 1304170"/>
              <a:gd name="connsiteX1" fmla="*/ 150741 w 150741"/>
              <a:gd name="connsiteY1" fmla="*/ 150741 h 1304170"/>
              <a:gd name="connsiteX2" fmla="*/ 150741 w 150741"/>
              <a:gd name="connsiteY2" fmla="*/ 1153429 h 1304170"/>
              <a:gd name="connsiteX3" fmla="*/ 0 w 150741"/>
              <a:gd name="connsiteY3" fmla="*/ 1304170 h 1304170"/>
              <a:gd name="connsiteX4" fmla="*/ 0 w 150741"/>
              <a:gd name="connsiteY4" fmla="*/ 1304170 h 130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1" h="1304170">
                <a:moveTo>
                  <a:pt x="0" y="0"/>
                </a:moveTo>
                <a:cubicBezTo>
                  <a:pt x="83252" y="0"/>
                  <a:pt x="150741" y="67489"/>
                  <a:pt x="150741" y="150741"/>
                </a:cubicBezTo>
                <a:lnTo>
                  <a:pt x="150741" y="1153429"/>
                </a:lnTo>
                <a:cubicBezTo>
                  <a:pt x="150741" y="1236681"/>
                  <a:pt x="83252" y="1304170"/>
                  <a:pt x="0" y="1304170"/>
                </a:cubicBezTo>
                <a:lnTo>
                  <a:pt x="0" y="1304170"/>
                </a:lnTo>
              </a:path>
            </a:pathLst>
          </a:custGeom>
          <a:solidFill>
            <a:schemeClr val="accent1"/>
          </a:solidFill>
        </p:spPr>
        <p:txBody>
          <a:bodyPr wrap="square" lIns="0" tIns="0" rIns="0" bIns="0" rtlCol="0" anchor="ctr">
            <a:noAutofit/>
          </a:bodyPr>
          <a:lstStyle/>
          <a:p>
            <a:pPr algn="ctr"/>
            <a:endParaRPr lang="en-US" sz="1765" dirty="0">
              <a:latin typeface="Segoe UI"/>
            </a:endParaRPr>
          </a:p>
        </p:txBody>
      </p:sp>
      <p:cxnSp>
        <p:nvCxnSpPr>
          <p:cNvPr id="105" name="Straight Connector 104">
            <a:extLst>
              <a:ext uri="{FF2B5EF4-FFF2-40B4-BE49-F238E27FC236}">
                <a16:creationId xmlns:a16="http://schemas.microsoft.com/office/drawing/2014/main" id="{659FEA74-C3DC-4508-BE4F-3AF4CD4B39B4}"/>
              </a:ext>
            </a:extLst>
          </p:cNvPr>
          <p:cNvCxnSpPr>
            <a:cxnSpLocks/>
          </p:cNvCxnSpPr>
          <p:nvPr/>
        </p:nvCxnSpPr>
        <p:spPr>
          <a:xfrm>
            <a:off x="457200" y="5297825"/>
            <a:ext cx="5664073" cy="0"/>
          </a:xfrm>
          <a:prstGeom prst="line">
            <a:avLst/>
          </a:prstGeom>
          <a:noFill/>
          <a:ln w="3175">
            <a:solidFill>
              <a:schemeClr val="bg1">
                <a:lumMod val="85000"/>
              </a:schemeClr>
            </a:solidFill>
            <a:prstDash val="dash"/>
          </a:ln>
        </p:spPr>
      </p:cxnSp>
      <p:grpSp>
        <p:nvGrpSpPr>
          <p:cNvPr id="108" name="Group 107">
            <a:extLst>
              <a:ext uri="{FF2B5EF4-FFF2-40B4-BE49-F238E27FC236}">
                <a16:creationId xmlns:a16="http://schemas.microsoft.com/office/drawing/2014/main" id="{1968FCB1-4939-4B68-8DC9-516AB0B3F2DD}"/>
              </a:ext>
            </a:extLst>
          </p:cNvPr>
          <p:cNvGrpSpPr/>
          <p:nvPr/>
        </p:nvGrpSpPr>
        <p:grpSpPr>
          <a:xfrm>
            <a:off x="506805" y="4841299"/>
            <a:ext cx="5613527" cy="489411"/>
            <a:chOff x="506805" y="5407363"/>
            <a:chExt cx="5613527" cy="522386"/>
          </a:xfrm>
        </p:grpSpPr>
        <p:sp>
          <p:nvSpPr>
            <p:cNvPr id="109" name="Rectangle 108">
              <a:extLst>
                <a:ext uri="{FF2B5EF4-FFF2-40B4-BE49-F238E27FC236}">
                  <a16:creationId xmlns:a16="http://schemas.microsoft.com/office/drawing/2014/main" id="{3E4DFA63-3F0D-487B-A03F-3BEC2E1DBE83}"/>
                </a:ext>
              </a:extLst>
            </p:cNvPr>
            <p:cNvSpPr/>
            <p:nvPr/>
          </p:nvSpPr>
          <p:spPr>
            <a:xfrm>
              <a:off x="506805" y="54073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GB" sz="1600">
                  <a:solidFill>
                    <a:schemeClr val="tx1"/>
                  </a:solidFill>
                </a:rPr>
                <a:t>Testing</a:t>
              </a:r>
            </a:p>
          </p:txBody>
        </p:sp>
        <p:grpSp>
          <p:nvGrpSpPr>
            <p:cNvPr id="110" name="Group 109">
              <a:extLst>
                <a:ext uri="{FF2B5EF4-FFF2-40B4-BE49-F238E27FC236}">
                  <a16:creationId xmlns:a16="http://schemas.microsoft.com/office/drawing/2014/main" id="{D7AF8044-6ECB-4939-9222-5609599E7C63}"/>
                </a:ext>
              </a:extLst>
            </p:cNvPr>
            <p:cNvGrpSpPr/>
            <p:nvPr/>
          </p:nvGrpSpPr>
          <p:grpSpPr>
            <a:xfrm>
              <a:off x="730757" y="5505500"/>
              <a:ext cx="326112" cy="326112"/>
              <a:chOff x="115497" y="1864737"/>
              <a:chExt cx="461744" cy="461744"/>
            </a:xfrm>
            <a:solidFill>
              <a:schemeClr val="tx2"/>
            </a:solidFill>
          </p:grpSpPr>
          <p:sp>
            <p:nvSpPr>
              <p:cNvPr id="111" name="Freeform: Shape 110">
                <a:extLst>
                  <a:ext uri="{FF2B5EF4-FFF2-40B4-BE49-F238E27FC236}">
                    <a16:creationId xmlns:a16="http://schemas.microsoft.com/office/drawing/2014/main" id="{82885EBC-15AB-4C6C-B918-86D23BF5CC9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2" name="Graphic 77">
                <a:extLst>
                  <a:ext uri="{FF2B5EF4-FFF2-40B4-BE49-F238E27FC236}">
                    <a16:creationId xmlns:a16="http://schemas.microsoft.com/office/drawing/2014/main" id="{FF55BADD-5681-4A71-BB66-099FE1C51AC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cxnSp>
        <p:nvCxnSpPr>
          <p:cNvPr id="97" name="Straight Connector 96">
            <a:extLst>
              <a:ext uri="{FF2B5EF4-FFF2-40B4-BE49-F238E27FC236}">
                <a16:creationId xmlns:a16="http://schemas.microsoft.com/office/drawing/2014/main" id="{DDFBF943-5D7E-4892-A923-900A720B72B9}"/>
              </a:ext>
            </a:extLst>
          </p:cNvPr>
          <p:cNvCxnSpPr>
            <a:cxnSpLocks/>
          </p:cNvCxnSpPr>
          <p:nvPr/>
        </p:nvCxnSpPr>
        <p:spPr>
          <a:xfrm>
            <a:off x="457200" y="4324136"/>
            <a:ext cx="5664073" cy="0"/>
          </a:xfrm>
          <a:prstGeom prst="line">
            <a:avLst/>
          </a:prstGeom>
          <a:noFill/>
          <a:ln w="3175">
            <a:solidFill>
              <a:schemeClr val="bg1">
                <a:lumMod val="85000"/>
              </a:schemeClr>
            </a:solidFill>
            <a:prstDash val="dash"/>
          </a:ln>
        </p:spPr>
      </p:cxnSp>
      <p:grpSp>
        <p:nvGrpSpPr>
          <p:cNvPr id="98" name="Group 97">
            <a:extLst>
              <a:ext uri="{FF2B5EF4-FFF2-40B4-BE49-F238E27FC236}">
                <a16:creationId xmlns:a16="http://schemas.microsoft.com/office/drawing/2014/main" id="{31B1E4F9-4C70-4D98-8B0E-1FCDC08712D4}"/>
              </a:ext>
            </a:extLst>
          </p:cNvPr>
          <p:cNvGrpSpPr/>
          <p:nvPr/>
        </p:nvGrpSpPr>
        <p:grpSpPr>
          <a:xfrm>
            <a:off x="506805" y="5346124"/>
            <a:ext cx="5613527" cy="489411"/>
            <a:chOff x="506805" y="5407363"/>
            <a:chExt cx="5613527" cy="522386"/>
          </a:xfrm>
        </p:grpSpPr>
        <p:sp>
          <p:nvSpPr>
            <p:cNvPr id="99" name="Rectangle 98">
              <a:extLst>
                <a:ext uri="{FF2B5EF4-FFF2-40B4-BE49-F238E27FC236}">
                  <a16:creationId xmlns:a16="http://schemas.microsoft.com/office/drawing/2014/main" id="{644BA521-F0D0-4DC6-AD29-213C96584300}"/>
                </a:ext>
              </a:extLst>
            </p:cNvPr>
            <p:cNvSpPr/>
            <p:nvPr/>
          </p:nvSpPr>
          <p:spPr>
            <a:xfrm>
              <a:off x="506805" y="54073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Q&amp;A</a:t>
              </a:r>
            </a:p>
          </p:txBody>
        </p:sp>
        <p:grpSp>
          <p:nvGrpSpPr>
            <p:cNvPr id="106" name="Group 105">
              <a:extLst>
                <a:ext uri="{FF2B5EF4-FFF2-40B4-BE49-F238E27FC236}">
                  <a16:creationId xmlns:a16="http://schemas.microsoft.com/office/drawing/2014/main" id="{951F3389-7AC0-4A17-8789-C4FFD49D558F}"/>
                </a:ext>
              </a:extLst>
            </p:cNvPr>
            <p:cNvGrpSpPr/>
            <p:nvPr/>
          </p:nvGrpSpPr>
          <p:grpSpPr>
            <a:xfrm>
              <a:off x="730757" y="5505500"/>
              <a:ext cx="326112" cy="326112"/>
              <a:chOff x="115497" y="1864737"/>
              <a:chExt cx="461744" cy="461744"/>
            </a:xfrm>
            <a:solidFill>
              <a:schemeClr val="tx2"/>
            </a:solidFill>
          </p:grpSpPr>
          <p:sp>
            <p:nvSpPr>
              <p:cNvPr id="107" name="Freeform: Shape 106">
                <a:extLst>
                  <a:ext uri="{FF2B5EF4-FFF2-40B4-BE49-F238E27FC236}">
                    <a16:creationId xmlns:a16="http://schemas.microsoft.com/office/drawing/2014/main" id="{F70ACBB0-4542-47BB-94A0-7D429E547C4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3" name="Graphic 77">
                <a:extLst>
                  <a:ext uri="{FF2B5EF4-FFF2-40B4-BE49-F238E27FC236}">
                    <a16:creationId xmlns:a16="http://schemas.microsoft.com/office/drawing/2014/main" id="{40D29644-2494-42D8-B025-00182E128B1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cxnSp>
        <p:nvCxnSpPr>
          <p:cNvPr id="114" name="Straight Connector 113">
            <a:extLst>
              <a:ext uri="{FF2B5EF4-FFF2-40B4-BE49-F238E27FC236}">
                <a16:creationId xmlns:a16="http://schemas.microsoft.com/office/drawing/2014/main" id="{78B78F5D-D11A-4A92-A63F-98087733F901}"/>
              </a:ext>
            </a:extLst>
          </p:cNvPr>
          <p:cNvCxnSpPr>
            <a:cxnSpLocks/>
          </p:cNvCxnSpPr>
          <p:nvPr/>
        </p:nvCxnSpPr>
        <p:spPr>
          <a:xfrm>
            <a:off x="460375" y="5796300"/>
            <a:ext cx="5664073" cy="0"/>
          </a:xfrm>
          <a:prstGeom prst="line">
            <a:avLst/>
          </a:prstGeom>
          <a:noFill/>
          <a:ln w="3175">
            <a:solidFill>
              <a:schemeClr val="bg1">
                <a:lumMod val="85000"/>
              </a:schemeClr>
            </a:solidFill>
            <a:prstDash val="dash"/>
          </a:ln>
        </p:spPr>
      </p:cxnSp>
      <p:grpSp>
        <p:nvGrpSpPr>
          <p:cNvPr id="4" name="Group 3">
            <a:extLst>
              <a:ext uri="{FF2B5EF4-FFF2-40B4-BE49-F238E27FC236}">
                <a16:creationId xmlns:a16="http://schemas.microsoft.com/office/drawing/2014/main" id="{DFFE5115-F162-4EA8-89B8-494B870ABCFA}"/>
              </a:ext>
            </a:extLst>
          </p:cNvPr>
          <p:cNvGrpSpPr/>
          <p:nvPr/>
        </p:nvGrpSpPr>
        <p:grpSpPr>
          <a:xfrm>
            <a:off x="506805" y="3867307"/>
            <a:ext cx="5623951" cy="490225"/>
            <a:chOff x="506805" y="3867308"/>
            <a:chExt cx="5623951" cy="415694"/>
          </a:xfrm>
        </p:grpSpPr>
        <p:grpSp>
          <p:nvGrpSpPr>
            <p:cNvPr id="74" name="Group 73">
              <a:extLst>
                <a:ext uri="{FF2B5EF4-FFF2-40B4-BE49-F238E27FC236}">
                  <a16:creationId xmlns:a16="http://schemas.microsoft.com/office/drawing/2014/main" id="{50C4E2D5-ABEE-4F1C-8DF5-73DE5AC2F27A}"/>
                </a:ext>
              </a:extLst>
            </p:cNvPr>
            <p:cNvGrpSpPr/>
            <p:nvPr/>
          </p:nvGrpSpPr>
          <p:grpSpPr>
            <a:xfrm>
              <a:off x="506805" y="3867998"/>
              <a:ext cx="5613527" cy="415004"/>
              <a:chOff x="506805" y="4236663"/>
              <a:chExt cx="5613527" cy="522386"/>
            </a:xfrm>
          </p:grpSpPr>
          <p:sp>
            <p:nvSpPr>
              <p:cNvPr id="75" name="Rectangle 74">
                <a:extLst>
                  <a:ext uri="{FF2B5EF4-FFF2-40B4-BE49-F238E27FC236}">
                    <a16:creationId xmlns:a16="http://schemas.microsoft.com/office/drawing/2014/main" id="{030E3A6F-B40A-4569-AC93-BDC1DEAA095C}"/>
                  </a:ext>
                </a:extLst>
              </p:cNvPr>
              <p:cNvSpPr/>
              <p:nvPr/>
            </p:nvSpPr>
            <p:spPr>
              <a:xfrm>
                <a:off x="506805" y="42366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endParaRPr lang="fr-FR" sz="1600">
                  <a:solidFill>
                    <a:schemeClr val="tx1"/>
                  </a:solidFill>
                </a:endParaRPr>
              </a:p>
            </p:txBody>
          </p:sp>
          <p:grpSp>
            <p:nvGrpSpPr>
              <p:cNvPr id="76" name="Group 75">
                <a:extLst>
                  <a:ext uri="{FF2B5EF4-FFF2-40B4-BE49-F238E27FC236}">
                    <a16:creationId xmlns:a16="http://schemas.microsoft.com/office/drawing/2014/main" id="{8C5E5E53-E510-40D8-92C4-7975BF31BFF1}"/>
                  </a:ext>
                </a:extLst>
              </p:cNvPr>
              <p:cNvGrpSpPr/>
              <p:nvPr/>
            </p:nvGrpSpPr>
            <p:grpSpPr>
              <a:xfrm>
                <a:off x="730757" y="4334800"/>
                <a:ext cx="326112" cy="326112"/>
                <a:chOff x="115497" y="1864737"/>
                <a:chExt cx="461744" cy="461744"/>
              </a:xfrm>
              <a:solidFill>
                <a:schemeClr val="tx2"/>
              </a:solidFill>
            </p:grpSpPr>
            <p:sp>
              <p:nvSpPr>
                <p:cNvPr id="77" name="Freeform: Shape 76">
                  <a:extLst>
                    <a:ext uri="{FF2B5EF4-FFF2-40B4-BE49-F238E27FC236}">
                      <a16:creationId xmlns:a16="http://schemas.microsoft.com/office/drawing/2014/main" id="{C0E7479B-2E41-41A8-8F1A-01E828705C0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8" name="Graphic 77">
                  <a:extLst>
                    <a:ext uri="{FF2B5EF4-FFF2-40B4-BE49-F238E27FC236}">
                      <a16:creationId xmlns:a16="http://schemas.microsoft.com/office/drawing/2014/main" id="{548EAD0B-AEC3-471A-8197-CE03DECE60E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21" name="Rectangle 120">
              <a:extLst>
                <a:ext uri="{FF2B5EF4-FFF2-40B4-BE49-F238E27FC236}">
                  <a16:creationId xmlns:a16="http://schemas.microsoft.com/office/drawing/2014/main" id="{F797E6EC-13A3-491B-BA5C-14D7F712984D}"/>
                </a:ext>
              </a:extLst>
            </p:cNvPr>
            <p:cNvSpPr/>
            <p:nvPr/>
          </p:nvSpPr>
          <p:spPr>
            <a:xfrm>
              <a:off x="517229" y="3867308"/>
              <a:ext cx="5613527" cy="4150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tx1"/>
                  </a:solidFill>
                </a:rPr>
                <a:t>Performance</a:t>
              </a:r>
            </a:p>
          </p:txBody>
        </p:sp>
      </p:grpSp>
      <p:sp>
        <p:nvSpPr>
          <p:cNvPr id="3" name="TextBox 2">
            <a:extLst>
              <a:ext uri="{FF2B5EF4-FFF2-40B4-BE49-F238E27FC236}">
                <a16:creationId xmlns:a16="http://schemas.microsoft.com/office/drawing/2014/main" id="{810CC32F-6D14-4516-8AFD-A517F4160133}"/>
              </a:ext>
            </a:extLst>
          </p:cNvPr>
          <p:cNvSpPr txBox="1"/>
          <p:nvPr/>
        </p:nvSpPr>
        <p:spPr>
          <a:xfrm>
            <a:off x="6239357" y="1574610"/>
            <a:ext cx="5373297" cy="1477328"/>
          </a:xfrm>
          <a:prstGeom prst="rect">
            <a:avLst/>
          </a:prstGeom>
          <a:noFill/>
        </p:spPr>
        <p:txBody>
          <a:bodyPr wrap="square" lIns="0" tIns="0" rIns="0" bIns="0" rtlCol="0">
            <a:spAutoFit/>
          </a:bodyPr>
          <a:lstStyle/>
          <a:p>
            <a:pPr algn="l"/>
            <a:r>
              <a:rPr lang="en-US" sz="1600" dirty="0"/>
              <a:t>The Data Migration Strategy Workshop is designed to help ensuring that the approach for data migration is heading for success. Data migration is one of the key components in a successful implementation. The workshop includes general strategic considerations as well as specific topics like volumes, tooling, performance and validations.</a:t>
            </a:r>
            <a:endParaRPr lang="en-NL" sz="1600" dirty="0"/>
          </a:p>
        </p:txBody>
      </p:sp>
    </p:spTree>
    <p:extLst>
      <p:ext uri="{BB962C8B-B14F-4D97-AF65-F5344CB8AC3E}">
        <p14:creationId xmlns:p14="http://schemas.microsoft.com/office/powerpoint/2010/main" val="109487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B595404-6FC4-4ECC-B99B-F47FB04E6DB3}"/>
              </a:ext>
            </a:extLst>
          </p:cNvPr>
          <p:cNvGrpSpPr/>
          <p:nvPr/>
        </p:nvGrpSpPr>
        <p:grpSpPr>
          <a:xfrm>
            <a:off x="457778" y="1189176"/>
            <a:ext cx="11277600" cy="522386"/>
            <a:chOff x="457200" y="1895261"/>
            <a:chExt cx="11277600" cy="522386"/>
          </a:xfrm>
        </p:grpSpPr>
        <p:sp>
          <p:nvSpPr>
            <p:cNvPr id="10" name="Rectangle 9">
              <a:extLst>
                <a:ext uri="{FF2B5EF4-FFF2-40B4-BE49-F238E27FC236}">
                  <a16:creationId xmlns:a16="http://schemas.microsoft.com/office/drawing/2014/main" id="{53EC6F74-4994-4365-BF20-3ACC76EB7EDA}"/>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Setup and tuning considerations</a:t>
              </a:r>
            </a:p>
          </p:txBody>
        </p:sp>
        <p:grpSp>
          <p:nvGrpSpPr>
            <p:cNvPr id="16" name="Group 15">
              <a:extLst>
                <a:ext uri="{FF2B5EF4-FFF2-40B4-BE49-F238E27FC236}">
                  <a16:creationId xmlns:a16="http://schemas.microsoft.com/office/drawing/2014/main" id="{E1449417-CA8C-4ECF-AE6E-2A0CC814C783}"/>
                </a:ext>
              </a:extLst>
            </p:cNvPr>
            <p:cNvGrpSpPr/>
            <p:nvPr/>
          </p:nvGrpSpPr>
          <p:grpSpPr>
            <a:xfrm>
              <a:off x="457200" y="1993398"/>
              <a:ext cx="326112" cy="326112"/>
              <a:chOff x="115497" y="1864737"/>
              <a:chExt cx="461744" cy="461744"/>
            </a:xfrm>
            <a:solidFill>
              <a:schemeClr val="tx2"/>
            </a:solidFill>
          </p:grpSpPr>
          <p:sp>
            <p:nvSpPr>
              <p:cNvPr id="17" name="Freeform: Shape 16">
                <a:extLst>
                  <a:ext uri="{FF2B5EF4-FFF2-40B4-BE49-F238E27FC236}">
                    <a16:creationId xmlns:a16="http://schemas.microsoft.com/office/drawing/2014/main" id="{687318F3-DB52-4AD6-A5BB-CA7C4EF4083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Graphic 77">
                <a:extLst>
                  <a:ext uri="{FF2B5EF4-FFF2-40B4-BE49-F238E27FC236}">
                    <a16:creationId xmlns:a16="http://schemas.microsoft.com/office/drawing/2014/main" id="{56EE8CD9-07FB-4E3A-A281-F9F13737F5D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Performance</a:t>
            </a:r>
          </a:p>
        </p:txBody>
      </p:sp>
      <p:sp>
        <p:nvSpPr>
          <p:cNvPr id="11" name="Rectangle 10">
            <a:extLst>
              <a:ext uri="{FF2B5EF4-FFF2-40B4-BE49-F238E27FC236}">
                <a16:creationId xmlns:a16="http://schemas.microsoft.com/office/drawing/2014/main" id="{76583F2C-13BC-4FA8-A9DE-F1F764C38F10}"/>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a:p>
            <a:pPr algn="ctr"/>
            <a:br>
              <a:rPr lang="en-US" sz="1600">
                <a:solidFill>
                  <a:schemeClr val="tx1"/>
                </a:solidFill>
              </a:rPr>
            </a:br>
            <a:r>
              <a:rPr lang="en-US" sz="1600">
                <a:solidFill>
                  <a:schemeClr val="tx1"/>
                </a:solidFill>
              </a:rPr>
              <a:t>(See slide notes for additional information)</a:t>
            </a:r>
          </a:p>
          <a:p>
            <a:pPr algn="ctr"/>
            <a:endParaRPr lang="en-US" sz="1600">
              <a:solidFill>
                <a:schemeClr val="tx1"/>
              </a:solidFill>
            </a:endParaRPr>
          </a:p>
        </p:txBody>
      </p:sp>
    </p:spTree>
    <p:extLst>
      <p:ext uri="{BB962C8B-B14F-4D97-AF65-F5344CB8AC3E}">
        <p14:creationId xmlns:p14="http://schemas.microsoft.com/office/powerpoint/2010/main" val="3014498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AA5C70-A028-4B6C-ABB0-6C80B40ABCDB}"/>
              </a:ext>
            </a:extLst>
          </p:cNvPr>
          <p:cNvSpPr>
            <a:spLocks noGrp="1"/>
          </p:cNvSpPr>
          <p:nvPr>
            <p:ph type="title"/>
          </p:nvPr>
        </p:nvSpPr>
        <p:spPr/>
        <p:txBody>
          <a:bodyPr/>
          <a:lstStyle/>
          <a:p>
            <a:r>
              <a:rPr lang="en-US"/>
              <a:t>Data Validation</a:t>
            </a:r>
            <a:endParaRPr lang="en-NL"/>
          </a:p>
        </p:txBody>
      </p:sp>
    </p:spTree>
    <p:extLst>
      <p:ext uri="{BB962C8B-B14F-4D97-AF65-F5344CB8AC3E}">
        <p14:creationId xmlns:p14="http://schemas.microsoft.com/office/powerpoint/2010/main" val="3619178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B595404-6FC4-4ECC-B99B-F47FB04E6DB3}"/>
              </a:ext>
            </a:extLst>
          </p:cNvPr>
          <p:cNvGrpSpPr/>
          <p:nvPr/>
        </p:nvGrpSpPr>
        <p:grpSpPr>
          <a:xfrm>
            <a:off x="457778" y="1189176"/>
            <a:ext cx="11277600" cy="522386"/>
            <a:chOff x="457200" y="1895261"/>
            <a:chExt cx="11277600" cy="522386"/>
          </a:xfrm>
        </p:grpSpPr>
        <p:sp>
          <p:nvSpPr>
            <p:cNvPr id="10" name="Rectangle 9">
              <a:extLst>
                <a:ext uri="{FF2B5EF4-FFF2-40B4-BE49-F238E27FC236}">
                  <a16:creationId xmlns:a16="http://schemas.microsoft.com/office/drawing/2014/main" id="{53EC6F74-4994-4365-BF20-3ACC76EB7EDA}"/>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escribe the steps to ensure migrated data is valid and accurate (data quality, data formatting, etc.)</a:t>
              </a:r>
              <a:r>
                <a:rPr lang="en-US" sz="1600" dirty="0">
                  <a:solidFill>
                    <a:schemeClr val="tx1"/>
                  </a:solidFill>
                  <a:highlight>
                    <a:srgbClr val="FFFF00"/>
                  </a:highlight>
                </a:rPr>
                <a:t> </a:t>
              </a:r>
            </a:p>
          </p:txBody>
        </p:sp>
        <p:grpSp>
          <p:nvGrpSpPr>
            <p:cNvPr id="16" name="Group 15">
              <a:extLst>
                <a:ext uri="{FF2B5EF4-FFF2-40B4-BE49-F238E27FC236}">
                  <a16:creationId xmlns:a16="http://schemas.microsoft.com/office/drawing/2014/main" id="{E1449417-CA8C-4ECF-AE6E-2A0CC814C783}"/>
                </a:ext>
              </a:extLst>
            </p:cNvPr>
            <p:cNvGrpSpPr/>
            <p:nvPr/>
          </p:nvGrpSpPr>
          <p:grpSpPr>
            <a:xfrm>
              <a:off x="457200" y="1993398"/>
              <a:ext cx="326112" cy="326112"/>
              <a:chOff x="115497" y="1864737"/>
              <a:chExt cx="461744" cy="461744"/>
            </a:xfrm>
            <a:solidFill>
              <a:schemeClr val="tx2"/>
            </a:solidFill>
          </p:grpSpPr>
          <p:sp>
            <p:nvSpPr>
              <p:cNvPr id="17" name="Freeform: Shape 16">
                <a:extLst>
                  <a:ext uri="{FF2B5EF4-FFF2-40B4-BE49-F238E27FC236}">
                    <a16:creationId xmlns:a16="http://schemas.microsoft.com/office/drawing/2014/main" id="{687318F3-DB52-4AD6-A5BB-CA7C4EF4083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Graphic 77">
                <a:extLst>
                  <a:ext uri="{FF2B5EF4-FFF2-40B4-BE49-F238E27FC236}">
                    <a16:creationId xmlns:a16="http://schemas.microsoft.com/office/drawing/2014/main" id="{56EE8CD9-07FB-4E3A-A281-F9F13737F5D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Data Validation</a:t>
            </a:r>
          </a:p>
        </p:txBody>
      </p:sp>
      <p:sp>
        <p:nvSpPr>
          <p:cNvPr id="11" name="Rectangle 10">
            <a:extLst>
              <a:ext uri="{FF2B5EF4-FFF2-40B4-BE49-F238E27FC236}">
                <a16:creationId xmlns:a16="http://schemas.microsoft.com/office/drawing/2014/main" id="{76583F2C-13BC-4FA8-A9DE-F1F764C38F10}"/>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a:p>
            <a:pPr algn="ctr"/>
            <a:br>
              <a:rPr lang="en-US" sz="1600">
                <a:solidFill>
                  <a:schemeClr val="tx1"/>
                </a:solidFill>
              </a:rPr>
            </a:br>
            <a:r>
              <a:rPr lang="en-US" sz="1600">
                <a:solidFill>
                  <a:schemeClr val="tx1"/>
                </a:solidFill>
              </a:rPr>
              <a:t>(See slide notes for additional information)</a:t>
            </a:r>
          </a:p>
          <a:p>
            <a:pPr algn="ctr"/>
            <a:endParaRPr lang="en-US" sz="1600">
              <a:solidFill>
                <a:schemeClr val="tx1"/>
              </a:solidFill>
            </a:endParaRPr>
          </a:p>
        </p:txBody>
      </p:sp>
    </p:spTree>
    <p:extLst>
      <p:ext uri="{BB962C8B-B14F-4D97-AF65-F5344CB8AC3E}">
        <p14:creationId xmlns:p14="http://schemas.microsoft.com/office/powerpoint/2010/main" val="3779075657"/>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AA5C70-A028-4B6C-ABB0-6C80B40ABCDB}"/>
              </a:ext>
            </a:extLst>
          </p:cNvPr>
          <p:cNvSpPr>
            <a:spLocks noGrp="1"/>
          </p:cNvSpPr>
          <p:nvPr>
            <p:ph type="title"/>
          </p:nvPr>
        </p:nvSpPr>
        <p:spPr/>
        <p:txBody>
          <a:bodyPr/>
          <a:lstStyle/>
          <a:p>
            <a:r>
              <a:rPr lang="en-US"/>
              <a:t>Testing</a:t>
            </a:r>
            <a:endParaRPr lang="en-NL"/>
          </a:p>
        </p:txBody>
      </p:sp>
    </p:spTree>
    <p:extLst>
      <p:ext uri="{BB962C8B-B14F-4D97-AF65-F5344CB8AC3E}">
        <p14:creationId xmlns:p14="http://schemas.microsoft.com/office/powerpoint/2010/main" val="150373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B595404-6FC4-4ECC-B99B-F47FB04E6DB3}"/>
              </a:ext>
            </a:extLst>
          </p:cNvPr>
          <p:cNvGrpSpPr/>
          <p:nvPr/>
        </p:nvGrpSpPr>
        <p:grpSpPr>
          <a:xfrm>
            <a:off x="457778" y="1189176"/>
            <a:ext cx="11277600" cy="522386"/>
            <a:chOff x="457200" y="1895261"/>
            <a:chExt cx="11277600" cy="522386"/>
          </a:xfrm>
        </p:grpSpPr>
        <p:sp>
          <p:nvSpPr>
            <p:cNvPr id="10" name="Rectangle 9">
              <a:extLst>
                <a:ext uri="{FF2B5EF4-FFF2-40B4-BE49-F238E27FC236}">
                  <a16:creationId xmlns:a16="http://schemas.microsoft.com/office/drawing/2014/main" id="{53EC6F74-4994-4365-BF20-3ACC76EB7EDA}"/>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ow do you plan to test the migrated data and document test results?</a:t>
              </a:r>
            </a:p>
          </p:txBody>
        </p:sp>
        <p:grpSp>
          <p:nvGrpSpPr>
            <p:cNvPr id="16" name="Group 15">
              <a:extLst>
                <a:ext uri="{FF2B5EF4-FFF2-40B4-BE49-F238E27FC236}">
                  <a16:creationId xmlns:a16="http://schemas.microsoft.com/office/drawing/2014/main" id="{E1449417-CA8C-4ECF-AE6E-2A0CC814C783}"/>
                </a:ext>
              </a:extLst>
            </p:cNvPr>
            <p:cNvGrpSpPr/>
            <p:nvPr/>
          </p:nvGrpSpPr>
          <p:grpSpPr>
            <a:xfrm>
              <a:off x="457200" y="1993398"/>
              <a:ext cx="326112" cy="326112"/>
              <a:chOff x="115497" y="1864737"/>
              <a:chExt cx="461744" cy="461744"/>
            </a:xfrm>
            <a:solidFill>
              <a:schemeClr val="tx2"/>
            </a:solidFill>
          </p:grpSpPr>
          <p:sp>
            <p:nvSpPr>
              <p:cNvPr id="17" name="Freeform: Shape 16">
                <a:extLst>
                  <a:ext uri="{FF2B5EF4-FFF2-40B4-BE49-F238E27FC236}">
                    <a16:creationId xmlns:a16="http://schemas.microsoft.com/office/drawing/2014/main" id="{687318F3-DB52-4AD6-A5BB-CA7C4EF4083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Graphic 77">
                <a:extLst>
                  <a:ext uri="{FF2B5EF4-FFF2-40B4-BE49-F238E27FC236}">
                    <a16:creationId xmlns:a16="http://schemas.microsoft.com/office/drawing/2014/main" id="{56EE8CD9-07FB-4E3A-A281-F9F13737F5D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Testing</a:t>
            </a:r>
          </a:p>
        </p:txBody>
      </p:sp>
      <p:sp>
        <p:nvSpPr>
          <p:cNvPr id="11" name="Rectangle 10">
            <a:extLst>
              <a:ext uri="{FF2B5EF4-FFF2-40B4-BE49-F238E27FC236}">
                <a16:creationId xmlns:a16="http://schemas.microsoft.com/office/drawing/2014/main" id="{76583F2C-13BC-4FA8-A9DE-F1F764C38F10}"/>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a:p>
            <a:pPr algn="ctr"/>
            <a:br>
              <a:rPr lang="en-US" sz="1600">
                <a:solidFill>
                  <a:schemeClr val="tx1"/>
                </a:solidFill>
              </a:rPr>
            </a:br>
            <a:r>
              <a:rPr lang="en-US" sz="1600">
                <a:solidFill>
                  <a:schemeClr val="tx1"/>
                </a:solidFill>
              </a:rPr>
              <a:t>(See slide notes for additional information)</a:t>
            </a:r>
          </a:p>
          <a:p>
            <a:pPr algn="ctr"/>
            <a:endParaRPr lang="en-US" sz="1600">
              <a:solidFill>
                <a:schemeClr val="tx1"/>
              </a:solidFill>
            </a:endParaRPr>
          </a:p>
        </p:txBody>
      </p:sp>
    </p:spTree>
    <p:extLst>
      <p:ext uri="{BB962C8B-B14F-4D97-AF65-F5344CB8AC3E}">
        <p14:creationId xmlns:p14="http://schemas.microsoft.com/office/powerpoint/2010/main" val="4145431178"/>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AA5C70-A028-4B6C-ABB0-6C80B40ABCDB}"/>
              </a:ext>
            </a:extLst>
          </p:cNvPr>
          <p:cNvSpPr>
            <a:spLocks noGrp="1"/>
          </p:cNvSpPr>
          <p:nvPr>
            <p:ph type="title"/>
          </p:nvPr>
        </p:nvSpPr>
        <p:spPr/>
        <p:txBody>
          <a:bodyPr/>
          <a:lstStyle/>
          <a:p>
            <a:r>
              <a:rPr lang="en-US"/>
              <a:t>Q&amp;A</a:t>
            </a:r>
            <a:endParaRPr lang="en-NL"/>
          </a:p>
        </p:txBody>
      </p:sp>
    </p:spTree>
    <p:extLst>
      <p:ext uri="{BB962C8B-B14F-4D97-AF65-F5344CB8AC3E}">
        <p14:creationId xmlns:p14="http://schemas.microsoft.com/office/powerpoint/2010/main" val="162499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Q&amp;A</a:t>
            </a:r>
          </a:p>
        </p:txBody>
      </p:sp>
      <p:sp>
        <p:nvSpPr>
          <p:cNvPr id="18" name="Rectangle 17">
            <a:extLst>
              <a:ext uri="{FF2B5EF4-FFF2-40B4-BE49-F238E27FC236}">
                <a16:creationId xmlns:a16="http://schemas.microsoft.com/office/drawing/2014/main" id="{9E0DB5B5-71CC-4A82-83C7-4427225E89B4}"/>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Brief Q&amp;A to discuss any additional topic areas.</a:t>
            </a:r>
          </a:p>
        </p:txBody>
      </p:sp>
      <p:grpSp>
        <p:nvGrpSpPr>
          <p:cNvPr id="19" name="Group 18">
            <a:extLst>
              <a:ext uri="{FF2B5EF4-FFF2-40B4-BE49-F238E27FC236}">
                <a16:creationId xmlns:a16="http://schemas.microsoft.com/office/drawing/2014/main" id="{369EA57D-195B-4FC2-A16F-1D98E98E9A6D}"/>
              </a:ext>
            </a:extLst>
          </p:cNvPr>
          <p:cNvGrpSpPr/>
          <p:nvPr/>
        </p:nvGrpSpPr>
        <p:grpSpPr>
          <a:xfrm>
            <a:off x="457200" y="1993398"/>
            <a:ext cx="326112" cy="326112"/>
            <a:chOff x="115497" y="1864737"/>
            <a:chExt cx="461744" cy="461744"/>
          </a:xfrm>
          <a:solidFill>
            <a:schemeClr val="tx2"/>
          </a:solidFill>
        </p:grpSpPr>
        <p:sp>
          <p:nvSpPr>
            <p:cNvPr id="20" name="Freeform: Shape 19">
              <a:extLst>
                <a:ext uri="{FF2B5EF4-FFF2-40B4-BE49-F238E27FC236}">
                  <a16:creationId xmlns:a16="http://schemas.microsoft.com/office/drawing/2014/main" id="{6D5F158D-72EA-4FD7-9A32-476745931B0D}"/>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Graphic 77">
              <a:extLst>
                <a:ext uri="{FF2B5EF4-FFF2-40B4-BE49-F238E27FC236}">
                  <a16:creationId xmlns:a16="http://schemas.microsoft.com/office/drawing/2014/main" id="{3CA31C58-F974-4272-8468-1BE1EE27E61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8" name="Rectangle 37">
            <a:extLst>
              <a:ext uri="{FF2B5EF4-FFF2-40B4-BE49-F238E27FC236}">
                <a16:creationId xmlns:a16="http://schemas.microsoft.com/office/drawing/2014/main" id="{54FDBA81-4E94-4312-93CB-C497C8DC0C5E}"/>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List questions and follow up actions</a:t>
            </a:r>
          </a:p>
        </p:txBody>
      </p:sp>
    </p:spTree>
    <p:extLst>
      <p:ext uri="{BB962C8B-B14F-4D97-AF65-F5344CB8AC3E}">
        <p14:creationId xmlns:p14="http://schemas.microsoft.com/office/powerpoint/2010/main" val="855631851"/>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199" y="5867714"/>
            <a:ext cx="8552961" cy="698775"/>
          </a:xfrm>
          <a:prstGeom prst="rect">
            <a:avLst/>
          </a:prstGeom>
          <a:noFill/>
        </p:spPr>
        <p:txBody>
          <a:bodyPr wrap="square" lIns="0" tIns="0" rIns="0" bIns="0" rtlCol="0" anchor="t" anchorCtr="0">
            <a:noAutofit/>
          </a:bodyPr>
          <a:lstStyle/>
          <a:p>
            <a:pPr defTabSz="914225">
              <a:spcAft>
                <a:spcPts val="600"/>
              </a:spcAft>
            </a:pPr>
            <a:r>
              <a:rPr lang="en-US" sz="784" kern="0">
                <a:latin typeface="Segoe UI"/>
              </a:rPr>
              <a:t>© 2021 Microsoft Corporation. All rights reserved. Microsoft, Microsoft Dynamics, Office 365, Windows, and other product names are or may be registered trademarks and/or trademarks in </a:t>
            </a:r>
            <a:br>
              <a:rPr lang="en-US" sz="784" kern="0">
                <a:latin typeface="Segoe UI"/>
              </a:rPr>
            </a:br>
            <a:r>
              <a:rPr lang="en-US" sz="784" kern="0">
                <a:latin typeface="Segoe UI"/>
              </a:rPr>
              <a:t>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8" name="Picture 7">
            <a:extLst>
              <a:ext uri="{FF2B5EF4-FFF2-40B4-BE49-F238E27FC236}">
                <a16:creationId xmlns:a16="http://schemas.microsoft.com/office/drawing/2014/main" id="{C7F3306B-47D1-4275-8784-D37237CA5F9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 y="3090736"/>
            <a:ext cx="3143873" cy="676529"/>
          </a:xfrm>
          <a:prstGeom prst="rect">
            <a:avLst/>
          </a:prstGeom>
        </p:spPr>
      </p:pic>
    </p:spTree>
    <p:extLst>
      <p:ext uri="{BB962C8B-B14F-4D97-AF65-F5344CB8AC3E}">
        <p14:creationId xmlns:p14="http://schemas.microsoft.com/office/powerpoint/2010/main" val="11299339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AA5C70-A028-4B6C-ABB0-6C80B40ABCDB}"/>
              </a:ext>
            </a:extLst>
          </p:cNvPr>
          <p:cNvSpPr>
            <a:spLocks noGrp="1"/>
          </p:cNvSpPr>
          <p:nvPr>
            <p:ph type="title"/>
          </p:nvPr>
        </p:nvSpPr>
        <p:spPr/>
        <p:txBody>
          <a:bodyPr/>
          <a:lstStyle/>
          <a:p>
            <a:r>
              <a:rPr lang="en-US"/>
              <a:t>Data Management Strategy </a:t>
            </a:r>
            <a:endParaRPr lang="en-NL"/>
          </a:p>
        </p:txBody>
      </p:sp>
    </p:spTree>
    <p:extLst>
      <p:ext uri="{BB962C8B-B14F-4D97-AF65-F5344CB8AC3E}">
        <p14:creationId xmlns:p14="http://schemas.microsoft.com/office/powerpoint/2010/main" val="853224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813F16CC-F241-4710-AF42-2BE4FF1797D7}"/>
              </a:ext>
            </a:extLst>
          </p:cNvPr>
          <p:cNvSpPr/>
          <p:nvPr/>
        </p:nvSpPr>
        <p:spPr bwMode="auto">
          <a:xfrm>
            <a:off x="691828" y="1566013"/>
            <a:ext cx="3358650" cy="1932045"/>
          </a:xfrm>
          <a:prstGeom prst="rect">
            <a:avLst/>
          </a:prstGeom>
          <a:noFill/>
          <a:ln>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45" name="Title 44">
            <a:extLst>
              <a:ext uri="{FF2B5EF4-FFF2-40B4-BE49-F238E27FC236}">
                <a16:creationId xmlns:a16="http://schemas.microsoft.com/office/drawing/2014/main" id="{3832BAB3-1A2F-45E7-966D-82C9B1D3D369}"/>
              </a:ext>
            </a:extLst>
          </p:cNvPr>
          <p:cNvSpPr>
            <a:spLocks noGrp="1"/>
          </p:cNvSpPr>
          <p:nvPr>
            <p:ph type="title"/>
          </p:nvPr>
        </p:nvSpPr>
        <p:spPr/>
        <p:txBody>
          <a:bodyPr/>
          <a:lstStyle/>
          <a:p>
            <a:r>
              <a:rPr lang="en-AU"/>
              <a:t>Data Management Strategy  </a:t>
            </a:r>
          </a:p>
        </p:txBody>
      </p:sp>
      <p:sp>
        <p:nvSpPr>
          <p:cNvPr id="242" name="optimize">
            <a:extLst>
              <a:ext uri="{FF2B5EF4-FFF2-40B4-BE49-F238E27FC236}">
                <a16:creationId xmlns:a16="http://schemas.microsoft.com/office/drawing/2014/main" id="{141E25DA-BF13-4E14-B8B4-D056FAE1DF57}"/>
              </a:ext>
            </a:extLst>
          </p:cNvPr>
          <p:cNvSpPr/>
          <p:nvPr/>
        </p:nvSpPr>
        <p:spPr bwMode="auto">
          <a:xfrm>
            <a:off x="1329082" y="1613352"/>
            <a:ext cx="2740521" cy="2923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5000"/>
              </a:lnSpc>
              <a:spcBef>
                <a:spcPct val="0"/>
              </a:spcBef>
              <a:spcAft>
                <a:spcPct val="0"/>
              </a:spcAft>
              <a:defRPr/>
            </a:pPr>
            <a:r>
              <a:rPr lang="en-US" sz="2000" kern="0" dirty="0">
                <a:gradFill>
                  <a:gsLst>
                    <a:gs pos="28775">
                      <a:schemeClr val="tx1"/>
                    </a:gs>
                    <a:gs pos="70000">
                      <a:schemeClr val="tx1"/>
                    </a:gs>
                  </a:gsLst>
                  <a:lin ang="5400000" scaled="0"/>
                </a:gradFill>
                <a:latin typeface="+mj-lt"/>
                <a:cs typeface="Segoe UI" panose="020B0502040204020203" pitchFamily="34" charset="0"/>
              </a:rPr>
              <a:t>Data preparation</a:t>
            </a:r>
          </a:p>
        </p:txBody>
      </p:sp>
      <p:sp>
        <p:nvSpPr>
          <p:cNvPr id="291" name="engage">
            <a:extLst>
              <a:ext uri="{FF2B5EF4-FFF2-40B4-BE49-F238E27FC236}">
                <a16:creationId xmlns:a16="http://schemas.microsoft.com/office/drawing/2014/main" id="{0B12335E-C347-466F-873E-3444B2DC6131}"/>
              </a:ext>
            </a:extLst>
          </p:cNvPr>
          <p:cNvSpPr/>
          <p:nvPr/>
        </p:nvSpPr>
        <p:spPr bwMode="auto">
          <a:xfrm>
            <a:off x="906126" y="2243389"/>
            <a:ext cx="2925773" cy="23391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14102" fontAlgn="base">
              <a:lnSpc>
                <a:spcPct val="95000"/>
              </a:lnSpc>
              <a:spcBef>
                <a:spcPct val="0"/>
              </a:spcBef>
              <a:spcAft>
                <a:spcPct val="0"/>
              </a:spcAft>
              <a:defRPr/>
            </a:pPr>
            <a:r>
              <a:rPr lang="en-US" sz="1600" kern="0" dirty="0">
                <a:gradFill>
                  <a:gsLst>
                    <a:gs pos="28775">
                      <a:schemeClr val="tx1"/>
                    </a:gs>
                    <a:gs pos="70000">
                      <a:schemeClr val="tx1"/>
                    </a:gs>
                  </a:gsLst>
                  <a:lin ang="5400000" scaled="0"/>
                </a:gradFill>
                <a:cs typeface="Segoe UI" panose="020B0502040204020203" pitchFamily="34" charset="0"/>
              </a:rPr>
              <a:t>What, Who, When, How </a:t>
            </a:r>
          </a:p>
        </p:txBody>
      </p:sp>
      <p:sp>
        <p:nvSpPr>
          <p:cNvPr id="595" name="Rectangle 594">
            <a:extLst>
              <a:ext uri="{FF2B5EF4-FFF2-40B4-BE49-F238E27FC236}">
                <a16:creationId xmlns:a16="http://schemas.microsoft.com/office/drawing/2014/main" id="{308A59E6-E9AC-4AE4-8D89-1FB4E045F1A2}"/>
              </a:ext>
            </a:extLst>
          </p:cNvPr>
          <p:cNvSpPr/>
          <p:nvPr/>
        </p:nvSpPr>
        <p:spPr bwMode="auto">
          <a:xfrm>
            <a:off x="4616737" y="1571373"/>
            <a:ext cx="3358650" cy="1932045"/>
          </a:xfrm>
          <a:prstGeom prst="rect">
            <a:avLst/>
          </a:prstGeom>
          <a:noFill/>
          <a:ln>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596" name="optimize">
            <a:extLst>
              <a:ext uri="{FF2B5EF4-FFF2-40B4-BE49-F238E27FC236}">
                <a16:creationId xmlns:a16="http://schemas.microsoft.com/office/drawing/2014/main" id="{28218260-BFC6-4958-BD4A-DF664B1C7267}"/>
              </a:ext>
            </a:extLst>
          </p:cNvPr>
          <p:cNvSpPr/>
          <p:nvPr/>
        </p:nvSpPr>
        <p:spPr bwMode="auto">
          <a:xfrm>
            <a:off x="5248862" y="1618712"/>
            <a:ext cx="2721489" cy="5847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5000"/>
              </a:lnSpc>
              <a:spcBef>
                <a:spcPct val="0"/>
              </a:spcBef>
              <a:spcAft>
                <a:spcPct val="0"/>
              </a:spcAft>
              <a:defRPr/>
            </a:pPr>
            <a:r>
              <a:rPr lang="en-US" sz="2000" kern="0">
                <a:gradFill>
                  <a:gsLst>
                    <a:gs pos="28775">
                      <a:schemeClr val="tx1"/>
                    </a:gs>
                    <a:gs pos="70000">
                      <a:schemeClr val="tx1"/>
                    </a:gs>
                  </a:gsLst>
                  <a:lin ang="5400000" scaled="0"/>
                </a:gradFill>
                <a:latin typeface="+mj-lt"/>
                <a:cs typeface="Segoe UI" panose="020B0502040204020203" pitchFamily="34" charset="0"/>
              </a:rPr>
              <a:t>Roles and responsibilities</a:t>
            </a:r>
          </a:p>
        </p:txBody>
      </p:sp>
      <p:sp>
        <p:nvSpPr>
          <p:cNvPr id="598" name="Oval 597">
            <a:extLst>
              <a:ext uri="{FF2B5EF4-FFF2-40B4-BE49-F238E27FC236}">
                <a16:creationId xmlns:a16="http://schemas.microsoft.com/office/drawing/2014/main" id="{04E382E5-A984-4894-BA79-B15BB2378FD7}"/>
              </a:ext>
            </a:extLst>
          </p:cNvPr>
          <p:cNvSpPr/>
          <p:nvPr/>
        </p:nvSpPr>
        <p:spPr bwMode="auto">
          <a:xfrm>
            <a:off x="4159875" y="1108813"/>
            <a:ext cx="914400" cy="914400"/>
          </a:xfrm>
          <a:prstGeom prst="ellipse">
            <a:avLst/>
          </a:prstGeom>
          <a:solidFill>
            <a:schemeClr val="accent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645" name="engage">
            <a:extLst>
              <a:ext uri="{FF2B5EF4-FFF2-40B4-BE49-F238E27FC236}">
                <a16:creationId xmlns:a16="http://schemas.microsoft.com/office/drawing/2014/main" id="{09EF5189-5B3E-4551-B927-7AE0A9C0A256}"/>
              </a:ext>
            </a:extLst>
          </p:cNvPr>
          <p:cNvSpPr/>
          <p:nvPr/>
        </p:nvSpPr>
        <p:spPr bwMode="auto">
          <a:xfrm>
            <a:off x="4819724" y="2276709"/>
            <a:ext cx="2948395" cy="46782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14102" fontAlgn="base">
              <a:lnSpc>
                <a:spcPct val="95000"/>
              </a:lnSpc>
              <a:spcBef>
                <a:spcPct val="0"/>
              </a:spcBef>
              <a:spcAft>
                <a:spcPct val="0"/>
              </a:spcAft>
              <a:defRPr/>
            </a:pPr>
            <a:r>
              <a:rPr lang="en-AU" sz="1600" kern="0">
                <a:gradFill>
                  <a:gsLst>
                    <a:gs pos="28775">
                      <a:schemeClr val="tx1"/>
                    </a:gs>
                    <a:gs pos="70000">
                      <a:schemeClr val="tx1"/>
                    </a:gs>
                  </a:gsLst>
                  <a:lin ang="5400000" scaled="0"/>
                </a:gradFill>
                <a:cs typeface="Segoe UI" panose="020B0502040204020203" pitchFamily="34" charset="0"/>
              </a:rPr>
              <a:t>Defined for all elements of data migration</a:t>
            </a:r>
          </a:p>
        </p:txBody>
      </p:sp>
      <p:sp>
        <p:nvSpPr>
          <p:cNvPr id="646" name="Rectangle 645">
            <a:extLst>
              <a:ext uri="{FF2B5EF4-FFF2-40B4-BE49-F238E27FC236}">
                <a16:creationId xmlns:a16="http://schemas.microsoft.com/office/drawing/2014/main" id="{BF74510C-DFC2-4BB0-AE36-CD91241108D6}"/>
              </a:ext>
            </a:extLst>
          </p:cNvPr>
          <p:cNvSpPr/>
          <p:nvPr/>
        </p:nvSpPr>
        <p:spPr bwMode="auto">
          <a:xfrm>
            <a:off x="8510427" y="1566013"/>
            <a:ext cx="3358650" cy="1932045"/>
          </a:xfrm>
          <a:prstGeom prst="rect">
            <a:avLst/>
          </a:prstGeom>
          <a:noFill/>
          <a:ln>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647" name="optimize">
            <a:extLst>
              <a:ext uri="{FF2B5EF4-FFF2-40B4-BE49-F238E27FC236}">
                <a16:creationId xmlns:a16="http://schemas.microsoft.com/office/drawing/2014/main" id="{2660ED9A-FB57-4856-B7D2-2AAC0F49D5B9}"/>
              </a:ext>
            </a:extLst>
          </p:cNvPr>
          <p:cNvSpPr/>
          <p:nvPr/>
        </p:nvSpPr>
        <p:spPr bwMode="auto">
          <a:xfrm>
            <a:off x="9183680" y="1613352"/>
            <a:ext cx="2685089" cy="2923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5000"/>
              </a:lnSpc>
              <a:spcBef>
                <a:spcPct val="0"/>
              </a:spcBef>
              <a:spcAft>
                <a:spcPct val="0"/>
              </a:spcAft>
              <a:defRPr/>
            </a:pPr>
            <a:r>
              <a:rPr lang="en-US" sz="2000" kern="0">
                <a:gradFill>
                  <a:gsLst>
                    <a:gs pos="28775">
                      <a:schemeClr val="tx1"/>
                    </a:gs>
                    <a:gs pos="70000">
                      <a:schemeClr val="tx1"/>
                    </a:gs>
                  </a:gsLst>
                  <a:lin ang="5400000" scaled="0"/>
                </a:gradFill>
                <a:latin typeface="+mj-lt"/>
                <a:cs typeface="Segoe UI" panose="020B0502040204020203" pitchFamily="34" charset="0"/>
              </a:rPr>
              <a:t>Approach</a:t>
            </a:r>
          </a:p>
        </p:txBody>
      </p:sp>
      <p:sp>
        <p:nvSpPr>
          <p:cNvPr id="649" name="Oval 648">
            <a:extLst>
              <a:ext uri="{FF2B5EF4-FFF2-40B4-BE49-F238E27FC236}">
                <a16:creationId xmlns:a16="http://schemas.microsoft.com/office/drawing/2014/main" id="{0666BAFC-A28C-4AF2-82F3-9DF928C191A5}"/>
              </a:ext>
            </a:extLst>
          </p:cNvPr>
          <p:cNvSpPr/>
          <p:nvPr/>
        </p:nvSpPr>
        <p:spPr bwMode="auto">
          <a:xfrm>
            <a:off x="8065659" y="1118596"/>
            <a:ext cx="914400" cy="914400"/>
          </a:xfrm>
          <a:prstGeom prst="ellipse">
            <a:avLst/>
          </a:prstGeom>
          <a:solidFill>
            <a:schemeClr val="accent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696" name="engage">
            <a:extLst>
              <a:ext uri="{FF2B5EF4-FFF2-40B4-BE49-F238E27FC236}">
                <a16:creationId xmlns:a16="http://schemas.microsoft.com/office/drawing/2014/main" id="{CA4BBE5A-A183-4635-A2CC-C527703A3C3B}"/>
              </a:ext>
            </a:extLst>
          </p:cNvPr>
          <p:cNvSpPr/>
          <p:nvPr/>
        </p:nvSpPr>
        <p:spPr bwMode="auto">
          <a:xfrm>
            <a:off x="8703445" y="2160252"/>
            <a:ext cx="3024539" cy="46782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14102" fontAlgn="base">
              <a:lnSpc>
                <a:spcPct val="95000"/>
              </a:lnSpc>
              <a:spcBef>
                <a:spcPct val="0"/>
              </a:spcBef>
              <a:spcAft>
                <a:spcPct val="0"/>
              </a:spcAft>
              <a:defRPr/>
            </a:pPr>
            <a:r>
              <a:rPr lang="en-AU" sz="1600" kern="0">
                <a:gradFill>
                  <a:gsLst>
                    <a:gs pos="28775">
                      <a:schemeClr val="tx1"/>
                    </a:gs>
                    <a:gs pos="70000">
                      <a:schemeClr val="tx1"/>
                    </a:gs>
                  </a:gsLst>
                  <a:lin ang="5400000" scaled="0"/>
                </a:gradFill>
                <a:cs typeface="Segoe UI" panose="020B0502040204020203" pitchFamily="34" charset="0"/>
              </a:rPr>
              <a:t>Who, what is the source, what data, acceptance criteria?</a:t>
            </a:r>
          </a:p>
        </p:txBody>
      </p:sp>
      <p:sp>
        <p:nvSpPr>
          <p:cNvPr id="697" name="Rectangle 696">
            <a:extLst>
              <a:ext uri="{FF2B5EF4-FFF2-40B4-BE49-F238E27FC236}">
                <a16:creationId xmlns:a16="http://schemas.microsoft.com/office/drawing/2014/main" id="{931897DA-9F1E-4460-A14F-2B0883A9549C}"/>
              </a:ext>
            </a:extLst>
          </p:cNvPr>
          <p:cNvSpPr/>
          <p:nvPr/>
        </p:nvSpPr>
        <p:spPr bwMode="auto">
          <a:xfrm>
            <a:off x="689688" y="4378027"/>
            <a:ext cx="3358650" cy="1932045"/>
          </a:xfrm>
          <a:prstGeom prst="rect">
            <a:avLst/>
          </a:prstGeom>
          <a:noFill/>
          <a:ln>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698" name="optimize">
            <a:extLst>
              <a:ext uri="{FF2B5EF4-FFF2-40B4-BE49-F238E27FC236}">
                <a16:creationId xmlns:a16="http://schemas.microsoft.com/office/drawing/2014/main" id="{73CF9636-6060-43DD-A11D-2EC0DB14A3F5}"/>
              </a:ext>
            </a:extLst>
          </p:cNvPr>
          <p:cNvSpPr/>
          <p:nvPr/>
        </p:nvSpPr>
        <p:spPr bwMode="auto">
          <a:xfrm>
            <a:off x="1326942" y="4425366"/>
            <a:ext cx="2701235" cy="5847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5000"/>
              </a:lnSpc>
              <a:spcBef>
                <a:spcPct val="0"/>
              </a:spcBef>
              <a:spcAft>
                <a:spcPct val="0"/>
              </a:spcAft>
              <a:defRPr/>
            </a:pPr>
            <a:r>
              <a:rPr lang="en-AU" sz="2000" kern="0">
                <a:gradFill>
                  <a:gsLst>
                    <a:gs pos="28775">
                      <a:schemeClr val="tx1"/>
                    </a:gs>
                    <a:gs pos="70000">
                      <a:schemeClr val="tx1"/>
                    </a:gs>
                  </a:gsLst>
                  <a:lin ang="5400000" scaled="0"/>
                </a:gradFill>
                <a:latin typeface="+mj-lt"/>
                <a:cs typeface="Segoe UI" panose="020B0502040204020203" pitchFamily="34" charset="0"/>
              </a:rPr>
              <a:t>Defect triage, fix and re-execute</a:t>
            </a:r>
          </a:p>
        </p:txBody>
      </p:sp>
      <p:sp>
        <p:nvSpPr>
          <p:cNvPr id="700" name="Oval 699">
            <a:extLst>
              <a:ext uri="{FF2B5EF4-FFF2-40B4-BE49-F238E27FC236}">
                <a16:creationId xmlns:a16="http://schemas.microsoft.com/office/drawing/2014/main" id="{94B3512D-16D9-4F07-8504-F3966A4AF22E}"/>
              </a:ext>
            </a:extLst>
          </p:cNvPr>
          <p:cNvSpPr/>
          <p:nvPr/>
        </p:nvSpPr>
        <p:spPr bwMode="auto">
          <a:xfrm>
            <a:off x="223804" y="3925306"/>
            <a:ext cx="914400" cy="914400"/>
          </a:xfrm>
          <a:prstGeom prst="ellipse">
            <a:avLst/>
          </a:prstGeom>
          <a:solidFill>
            <a:schemeClr val="accent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47" name="engage">
            <a:extLst>
              <a:ext uri="{FF2B5EF4-FFF2-40B4-BE49-F238E27FC236}">
                <a16:creationId xmlns:a16="http://schemas.microsoft.com/office/drawing/2014/main" id="{8949C4D1-3E70-4563-87C9-5066F65B585B}"/>
              </a:ext>
            </a:extLst>
          </p:cNvPr>
          <p:cNvSpPr/>
          <p:nvPr/>
        </p:nvSpPr>
        <p:spPr bwMode="auto">
          <a:xfrm>
            <a:off x="838148" y="5344049"/>
            <a:ext cx="3061727" cy="93564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14102" fontAlgn="base">
              <a:lnSpc>
                <a:spcPct val="95000"/>
              </a:lnSpc>
              <a:spcBef>
                <a:spcPct val="0"/>
              </a:spcBef>
              <a:spcAft>
                <a:spcPct val="0"/>
              </a:spcAft>
              <a:defRPr/>
            </a:pPr>
            <a:r>
              <a:rPr lang="en-AU" sz="1600" kern="0">
                <a:gradFill>
                  <a:gsLst>
                    <a:gs pos="28775">
                      <a:schemeClr val="tx1"/>
                    </a:gs>
                    <a:gs pos="70000">
                      <a:schemeClr val="tx1"/>
                    </a:gs>
                  </a:gsLst>
                  <a:lin ang="5400000" scaled="0"/>
                </a:gradFill>
                <a:cs typeface="Segoe UI" panose="020B0502040204020203" pitchFamily="34" charset="0"/>
              </a:rPr>
              <a:t>Define the defect identification, fixing and the iterative execution of data migration</a:t>
            </a:r>
          </a:p>
          <a:p>
            <a:pPr lvl="0" defTabSz="914102" fontAlgn="base">
              <a:lnSpc>
                <a:spcPct val="95000"/>
              </a:lnSpc>
              <a:spcBef>
                <a:spcPct val="0"/>
              </a:spcBef>
              <a:spcAft>
                <a:spcPct val="0"/>
              </a:spcAft>
              <a:defRPr/>
            </a:pPr>
            <a:endParaRPr lang="en-US" sz="1600" kern="0">
              <a:gradFill>
                <a:gsLst>
                  <a:gs pos="28775">
                    <a:schemeClr val="tx1"/>
                  </a:gs>
                  <a:gs pos="70000">
                    <a:schemeClr val="tx1"/>
                  </a:gs>
                </a:gsLst>
                <a:lin ang="5400000" scaled="0"/>
              </a:gradFill>
              <a:cs typeface="Segoe UI" panose="020B0502040204020203" pitchFamily="34" charset="0"/>
            </a:endParaRPr>
          </a:p>
        </p:txBody>
      </p:sp>
      <p:sp>
        <p:nvSpPr>
          <p:cNvPr id="748" name="Rectangle 747">
            <a:extLst>
              <a:ext uri="{FF2B5EF4-FFF2-40B4-BE49-F238E27FC236}">
                <a16:creationId xmlns:a16="http://schemas.microsoft.com/office/drawing/2014/main" id="{FBD010F5-2DDC-4EB0-9040-23759AEB29F2}"/>
              </a:ext>
            </a:extLst>
          </p:cNvPr>
          <p:cNvSpPr/>
          <p:nvPr/>
        </p:nvSpPr>
        <p:spPr bwMode="auto">
          <a:xfrm>
            <a:off x="4614597" y="4383387"/>
            <a:ext cx="3358650" cy="1932045"/>
          </a:xfrm>
          <a:prstGeom prst="rect">
            <a:avLst/>
          </a:prstGeom>
          <a:noFill/>
          <a:ln>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749" name="optimize">
            <a:extLst>
              <a:ext uri="{FF2B5EF4-FFF2-40B4-BE49-F238E27FC236}">
                <a16:creationId xmlns:a16="http://schemas.microsoft.com/office/drawing/2014/main" id="{F683932E-A6B8-4CD1-9A6D-AA71DD9210BC}"/>
              </a:ext>
            </a:extLst>
          </p:cNvPr>
          <p:cNvSpPr/>
          <p:nvPr/>
        </p:nvSpPr>
        <p:spPr bwMode="auto">
          <a:xfrm>
            <a:off x="5247200" y="4430726"/>
            <a:ext cx="2721012" cy="5847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5000"/>
              </a:lnSpc>
              <a:spcBef>
                <a:spcPct val="0"/>
              </a:spcBef>
              <a:spcAft>
                <a:spcPct val="0"/>
              </a:spcAft>
              <a:defRPr/>
            </a:pPr>
            <a:r>
              <a:rPr lang="en-US" sz="2000" kern="0">
                <a:gradFill>
                  <a:gsLst>
                    <a:gs pos="28775">
                      <a:schemeClr val="tx1"/>
                    </a:gs>
                    <a:gs pos="70000">
                      <a:schemeClr val="tx1"/>
                    </a:gs>
                  </a:gsLst>
                  <a:lin ang="5400000" scaled="0"/>
                </a:gradFill>
                <a:latin typeface="+mj-lt"/>
                <a:cs typeface="Segoe UI" panose="020B0502040204020203" pitchFamily="34" charset="0"/>
              </a:rPr>
              <a:t>Data management tools</a:t>
            </a:r>
          </a:p>
        </p:txBody>
      </p:sp>
      <p:sp>
        <p:nvSpPr>
          <p:cNvPr id="751" name="Oval 750">
            <a:extLst>
              <a:ext uri="{FF2B5EF4-FFF2-40B4-BE49-F238E27FC236}">
                <a16:creationId xmlns:a16="http://schemas.microsoft.com/office/drawing/2014/main" id="{278D2F63-D319-4B3C-B021-E75B4A5A6373}"/>
              </a:ext>
            </a:extLst>
          </p:cNvPr>
          <p:cNvSpPr/>
          <p:nvPr/>
        </p:nvSpPr>
        <p:spPr bwMode="auto">
          <a:xfrm>
            <a:off x="4146756" y="3934774"/>
            <a:ext cx="914400" cy="914400"/>
          </a:xfrm>
          <a:prstGeom prst="ellipse">
            <a:avLst/>
          </a:prstGeom>
          <a:solidFill>
            <a:schemeClr val="accent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98" name="engage">
            <a:extLst>
              <a:ext uri="{FF2B5EF4-FFF2-40B4-BE49-F238E27FC236}">
                <a16:creationId xmlns:a16="http://schemas.microsoft.com/office/drawing/2014/main" id="{1C2C2909-D3EE-4A4C-87C2-52473DC54D87}"/>
              </a:ext>
            </a:extLst>
          </p:cNvPr>
          <p:cNvSpPr/>
          <p:nvPr/>
        </p:nvSpPr>
        <p:spPr bwMode="auto">
          <a:xfrm>
            <a:off x="4819724" y="5203444"/>
            <a:ext cx="3069705" cy="46782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5000"/>
              </a:lnSpc>
              <a:spcBef>
                <a:spcPct val="0"/>
              </a:spcBef>
              <a:spcAft>
                <a:spcPct val="0"/>
              </a:spcAft>
              <a:defRPr/>
            </a:pPr>
            <a:r>
              <a:rPr lang="en-US" sz="1600" kern="0">
                <a:gradFill>
                  <a:gsLst>
                    <a:gs pos="28775">
                      <a:schemeClr val="tx1"/>
                    </a:gs>
                    <a:gs pos="70000">
                      <a:schemeClr val="tx1"/>
                    </a:gs>
                  </a:gsLst>
                  <a:lin ang="5400000" scaled="0"/>
                </a:gradFill>
                <a:cs typeface="Segoe UI"/>
              </a:rPr>
              <a:t>Data management framework, LCS</a:t>
            </a:r>
          </a:p>
        </p:txBody>
      </p:sp>
      <p:sp>
        <p:nvSpPr>
          <p:cNvPr id="799" name="Rectangle 798">
            <a:extLst>
              <a:ext uri="{FF2B5EF4-FFF2-40B4-BE49-F238E27FC236}">
                <a16:creationId xmlns:a16="http://schemas.microsoft.com/office/drawing/2014/main" id="{B026CB9E-5BD0-4A24-B721-2EB18FD91BEF}"/>
              </a:ext>
            </a:extLst>
          </p:cNvPr>
          <p:cNvSpPr/>
          <p:nvPr/>
        </p:nvSpPr>
        <p:spPr bwMode="auto">
          <a:xfrm>
            <a:off x="8508287" y="4378027"/>
            <a:ext cx="3358650" cy="1932045"/>
          </a:xfrm>
          <a:prstGeom prst="rect">
            <a:avLst/>
          </a:prstGeom>
          <a:noFill/>
          <a:ln>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800" name="optimize">
            <a:extLst>
              <a:ext uri="{FF2B5EF4-FFF2-40B4-BE49-F238E27FC236}">
                <a16:creationId xmlns:a16="http://schemas.microsoft.com/office/drawing/2014/main" id="{3E6095DC-61CD-4758-A3FB-08E00603DD2F}"/>
              </a:ext>
            </a:extLst>
          </p:cNvPr>
          <p:cNvSpPr/>
          <p:nvPr/>
        </p:nvSpPr>
        <p:spPr bwMode="auto">
          <a:xfrm>
            <a:off x="9187001" y="4425366"/>
            <a:ext cx="2679628" cy="2923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5000"/>
              </a:lnSpc>
              <a:spcBef>
                <a:spcPct val="0"/>
              </a:spcBef>
              <a:spcAft>
                <a:spcPct val="0"/>
              </a:spcAft>
              <a:defRPr/>
            </a:pPr>
            <a:r>
              <a:rPr lang="en-US" sz="2000" kern="0">
                <a:gradFill>
                  <a:gsLst>
                    <a:gs pos="28775">
                      <a:schemeClr val="tx1"/>
                    </a:gs>
                    <a:gs pos="70000">
                      <a:schemeClr val="tx1"/>
                    </a:gs>
                  </a:gsLst>
                  <a:lin ang="5400000" scaled="0"/>
                </a:gradFill>
                <a:latin typeface="+mj-lt"/>
                <a:cs typeface="Segoe UI" panose="020B0502040204020203" pitchFamily="34" charset="0"/>
              </a:rPr>
              <a:t>Validation</a:t>
            </a:r>
          </a:p>
        </p:txBody>
      </p:sp>
      <p:sp>
        <p:nvSpPr>
          <p:cNvPr id="802" name="Oval 801">
            <a:extLst>
              <a:ext uri="{FF2B5EF4-FFF2-40B4-BE49-F238E27FC236}">
                <a16:creationId xmlns:a16="http://schemas.microsoft.com/office/drawing/2014/main" id="{14E34193-9709-4718-A68B-164A0905A649}"/>
              </a:ext>
            </a:extLst>
          </p:cNvPr>
          <p:cNvSpPr/>
          <p:nvPr/>
        </p:nvSpPr>
        <p:spPr bwMode="auto">
          <a:xfrm>
            <a:off x="8046051" y="3916665"/>
            <a:ext cx="914400" cy="914400"/>
          </a:xfrm>
          <a:prstGeom prst="ellipse">
            <a:avLst/>
          </a:prstGeom>
          <a:solidFill>
            <a:schemeClr val="accent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grpSp>
        <p:nvGrpSpPr>
          <p:cNvPr id="3" name="Group 2">
            <a:extLst>
              <a:ext uri="{FF2B5EF4-FFF2-40B4-BE49-F238E27FC236}">
                <a16:creationId xmlns:a16="http://schemas.microsoft.com/office/drawing/2014/main" id="{584E9ECA-F3D2-4517-8233-290994F86829}"/>
              </a:ext>
            </a:extLst>
          </p:cNvPr>
          <p:cNvGrpSpPr/>
          <p:nvPr/>
        </p:nvGrpSpPr>
        <p:grpSpPr>
          <a:xfrm>
            <a:off x="238220" y="1138765"/>
            <a:ext cx="915010" cy="915010"/>
            <a:chOff x="238220" y="1138765"/>
            <a:chExt cx="915010" cy="915010"/>
          </a:xfrm>
        </p:grpSpPr>
        <p:sp>
          <p:nvSpPr>
            <p:cNvPr id="244" name="Oval 243">
              <a:extLst>
                <a:ext uri="{FF2B5EF4-FFF2-40B4-BE49-F238E27FC236}">
                  <a16:creationId xmlns:a16="http://schemas.microsoft.com/office/drawing/2014/main" id="{5CA0D38E-6B1A-4862-8B66-85C8AB285B84}"/>
                </a:ext>
              </a:extLst>
            </p:cNvPr>
            <p:cNvSpPr/>
            <p:nvPr/>
          </p:nvSpPr>
          <p:spPr bwMode="auto">
            <a:xfrm>
              <a:off x="238220" y="1138765"/>
              <a:ext cx="915010" cy="915010"/>
            </a:xfrm>
            <a:prstGeom prst="ellipse">
              <a:avLst/>
            </a:prstGeom>
            <a:solidFill>
              <a:schemeClr val="accent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8" name="MeetingPlanner_EBF2" title="Icon of a person in front of a calendar">
              <a:extLst>
                <a:ext uri="{FF2B5EF4-FFF2-40B4-BE49-F238E27FC236}">
                  <a16:creationId xmlns:a16="http://schemas.microsoft.com/office/drawing/2014/main" id="{DD0C728C-3F50-4151-8EEA-7C51126552D4}"/>
                </a:ext>
              </a:extLst>
            </p:cNvPr>
            <p:cNvSpPr>
              <a:spLocks noChangeAspect="1" noEditPoints="1"/>
            </p:cNvSpPr>
            <p:nvPr/>
          </p:nvSpPr>
          <p:spPr bwMode="auto">
            <a:xfrm>
              <a:off x="433237" y="1328126"/>
              <a:ext cx="499813" cy="533481"/>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9" name="Family_EBDA" title="Icon of a family of people">
            <a:extLst>
              <a:ext uri="{FF2B5EF4-FFF2-40B4-BE49-F238E27FC236}">
                <a16:creationId xmlns:a16="http://schemas.microsoft.com/office/drawing/2014/main" id="{4755F7C6-DAFB-4697-AFD1-086F08FBE6AB}"/>
              </a:ext>
            </a:extLst>
          </p:cNvPr>
          <p:cNvSpPr>
            <a:spLocks noChangeAspect="1" noEditPoints="1"/>
          </p:cNvSpPr>
          <p:nvPr/>
        </p:nvSpPr>
        <p:spPr bwMode="auto">
          <a:xfrm>
            <a:off x="4334462" y="1275180"/>
            <a:ext cx="529812" cy="478101"/>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Trackers_EADF" title="Icon of a clipboard with a checklist on it">
            <a:extLst>
              <a:ext uri="{FF2B5EF4-FFF2-40B4-BE49-F238E27FC236}">
                <a16:creationId xmlns:a16="http://schemas.microsoft.com/office/drawing/2014/main" id="{F1A44D04-8977-4730-A65C-D21ABFD62606}"/>
              </a:ext>
            </a:extLst>
          </p:cNvPr>
          <p:cNvSpPr>
            <a:spLocks noChangeAspect="1" noEditPoints="1"/>
          </p:cNvSpPr>
          <p:nvPr/>
        </p:nvSpPr>
        <p:spPr bwMode="auto">
          <a:xfrm>
            <a:off x="8306806" y="1241803"/>
            <a:ext cx="425735" cy="58051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2" name="Graphic 51" descr="Bug">
            <a:extLst>
              <a:ext uri="{FF2B5EF4-FFF2-40B4-BE49-F238E27FC236}">
                <a16:creationId xmlns:a16="http://schemas.microsoft.com/office/drawing/2014/main" id="{1B7C7111-E301-4F6A-8CFD-E1EEC1FD03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0435" y="4092624"/>
            <a:ext cx="570806" cy="570806"/>
          </a:xfrm>
          <a:prstGeom prst="rect">
            <a:avLst/>
          </a:prstGeom>
        </p:spPr>
      </p:pic>
      <p:sp>
        <p:nvSpPr>
          <p:cNvPr id="53" name="DeveloperTools_EC7A" title="Icon of a wrench and a screwdriver">
            <a:extLst>
              <a:ext uri="{FF2B5EF4-FFF2-40B4-BE49-F238E27FC236}">
                <a16:creationId xmlns:a16="http://schemas.microsoft.com/office/drawing/2014/main" id="{B281E38B-4178-4BDB-9381-71DB5894BC30}"/>
              </a:ext>
            </a:extLst>
          </p:cNvPr>
          <p:cNvSpPr>
            <a:spLocks noChangeAspect="1" noEditPoints="1"/>
          </p:cNvSpPr>
          <p:nvPr/>
        </p:nvSpPr>
        <p:spPr bwMode="auto">
          <a:xfrm>
            <a:off x="4422949" y="4082903"/>
            <a:ext cx="362014" cy="570412"/>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BarChartVertical_E9EC" title="Icon of a vertical bar graph">
            <a:extLst>
              <a:ext uri="{FF2B5EF4-FFF2-40B4-BE49-F238E27FC236}">
                <a16:creationId xmlns:a16="http://schemas.microsoft.com/office/drawing/2014/main" id="{C954AA4D-66E2-495A-84DE-ABE68AAEBCDA}"/>
              </a:ext>
            </a:extLst>
          </p:cNvPr>
          <p:cNvSpPr>
            <a:spLocks noChangeAspect="1" noEditPoints="1"/>
          </p:cNvSpPr>
          <p:nvPr/>
        </p:nvSpPr>
        <p:spPr bwMode="auto">
          <a:xfrm>
            <a:off x="8272601" y="4130227"/>
            <a:ext cx="475651" cy="475763"/>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 name="engage">
            <a:extLst>
              <a:ext uri="{FF2B5EF4-FFF2-40B4-BE49-F238E27FC236}">
                <a16:creationId xmlns:a16="http://schemas.microsoft.com/office/drawing/2014/main" id="{21ADFDC3-6C45-490B-9750-C46223783913}"/>
              </a:ext>
            </a:extLst>
          </p:cNvPr>
          <p:cNvSpPr/>
          <p:nvPr/>
        </p:nvSpPr>
        <p:spPr bwMode="auto">
          <a:xfrm>
            <a:off x="8703445" y="5203444"/>
            <a:ext cx="3069705" cy="9848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AU" sz="1600"/>
              <a:t>Visual inspection, record count, comparison of reports between source &amp; target, functional testing of critical scenarios etc.</a:t>
            </a:r>
          </a:p>
        </p:txBody>
      </p:sp>
    </p:spTree>
    <p:extLst>
      <p:ext uri="{BB962C8B-B14F-4D97-AF65-F5344CB8AC3E}">
        <p14:creationId xmlns:p14="http://schemas.microsoft.com/office/powerpoint/2010/main" val="443274503"/>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AA5C70-A028-4B6C-ABB0-6C80B40ABCDB}"/>
              </a:ext>
            </a:extLst>
          </p:cNvPr>
          <p:cNvSpPr>
            <a:spLocks noGrp="1"/>
          </p:cNvSpPr>
          <p:nvPr>
            <p:ph type="title"/>
          </p:nvPr>
        </p:nvSpPr>
        <p:spPr/>
        <p:txBody>
          <a:bodyPr/>
          <a:lstStyle/>
          <a:p>
            <a:r>
              <a:rPr lang="en-US"/>
              <a:t>Planning and Strategy </a:t>
            </a:r>
            <a:endParaRPr lang="en-NL"/>
          </a:p>
        </p:txBody>
      </p:sp>
    </p:spTree>
    <p:extLst>
      <p:ext uri="{BB962C8B-B14F-4D97-AF65-F5344CB8AC3E}">
        <p14:creationId xmlns:p14="http://schemas.microsoft.com/office/powerpoint/2010/main" val="2542816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CA2FB25-4D89-451B-B219-51890F2D3E39}"/>
              </a:ext>
            </a:extLst>
          </p:cNvPr>
          <p:cNvSpPr/>
          <p:nvPr/>
        </p:nvSpPr>
        <p:spPr bwMode="auto">
          <a:xfrm>
            <a:off x="2937940" y="2433198"/>
            <a:ext cx="8359961" cy="4059348"/>
          </a:xfrm>
          <a:prstGeom prst="rect">
            <a:avLst/>
          </a:prstGeom>
          <a:pattFill prst="wdUpDiag">
            <a:fgClr>
              <a:schemeClr val="bg2">
                <a:lumMod val="90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r" defTabSz="932472" fontAlgn="base">
              <a:spcBef>
                <a:spcPct val="0"/>
              </a:spcBef>
              <a:spcAft>
                <a:spcPct val="0"/>
              </a:spcAft>
            </a:pPr>
            <a:r>
              <a:rPr lang="en-AU" sz="2000" b="1">
                <a:solidFill>
                  <a:schemeClr val="tx2"/>
                </a:solidFill>
                <a:ea typeface="Segoe UI" pitchFamily="34" charset="0"/>
                <a:cs typeface="Segoe UI" pitchFamily="34" charset="0"/>
              </a:rPr>
              <a:t>Testing with migrated data</a:t>
            </a:r>
          </a:p>
        </p:txBody>
      </p:sp>
      <p:sp>
        <p:nvSpPr>
          <p:cNvPr id="130" name="Rectangle 129">
            <a:extLst>
              <a:ext uri="{FF2B5EF4-FFF2-40B4-BE49-F238E27FC236}">
                <a16:creationId xmlns:a16="http://schemas.microsoft.com/office/drawing/2014/main" id="{BCCA67C2-FE0A-4C11-A779-62810A44FD93}"/>
              </a:ext>
            </a:extLst>
          </p:cNvPr>
          <p:cNvSpPr/>
          <p:nvPr/>
        </p:nvSpPr>
        <p:spPr>
          <a:xfrm>
            <a:off x="757153" y="1822520"/>
            <a:ext cx="10577508" cy="4718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91414" rIns="91427" rtlCol="0" anchor="t" anchorCtr="0"/>
          <a:lstStyle/>
          <a:p>
            <a:pPr algn="ctr" defTabSz="914049"/>
            <a:endParaRPr lang="en-US" sz="2000">
              <a:ln w="3175">
                <a:noFill/>
              </a:ln>
              <a:solidFill>
                <a:schemeClr val="bg1"/>
              </a:solidFill>
              <a:latin typeface="Segoe UI Semibold"/>
              <a:cs typeface="Segoe UI" pitchFamily="34" charset="0"/>
            </a:endParaRPr>
          </a:p>
        </p:txBody>
      </p:sp>
      <p:sp>
        <p:nvSpPr>
          <p:cNvPr id="2" name="Title 1">
            <a:extLst>
              <a:ext uri="{FF2B5EF4-FFF2-40B4-BE49-F238E27FC236}">
                <a16:creationId xmlns:a16="http://schemas.microsoft.com/office/drawing/2014/main" id="{2971EE3D-5416-4275-9430-391606B78F29}"/>
              </a:ext>
            </a:extLst>
          </p:cNvPr>
          <p:cNvSpPr>
            <a:spLocks noGrp="1"/>
          </p:cNvSpPr>
          <p:nvPr>
            <p:ph type="title"/>
          </p:nvPr>
        </p:nvSpPr>
        <p:spPr>
          <a:xfrm>
            <a:off x="394259" y="53301"/>
            <a:ext cx="11018520" cy="553998"/>
          </a:xfrm>
        </p:spPr>
        <p:txBody>
          <a:bodyPr/>
          <a:lstStyle/>
          <a:p>
            <a:r>
              <a:rPr lang="en-US" dirty="0"/>
              <a:t>Data migration in the solution lifecycle</a:t>
            </a:r>
          </a:p>
        </p:txBody>
      </p:sp>
      <p:sp>
        <p:nvSpPr>
          <p:cNvPr id="153" name="Rectangle 152">
            <a:extLst>
              <a:ext uri="{FF2B5EF4-FFF2-40B4-BE49-F238E27FC236}">
                <a16:creationId xmlns:a16="http://schemas.microsoft.com/office/drawing/2014/main" id="{C5D83481-6D55-47D4-9609-EFE839EEC338}"/>
              </a:ext>
            </a:extLst>
          </p:cNvPr>
          <p:cNvSpPr/>
          <p:nvPr/>
        </p:nvSpPr>
        <p:spPr>
          <a:xfrm>
            <a:off x="2029847" y="1452660"/>
            <a:ext cx="4053956" cy="866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7" tIns="73141" rIns="91427" rtlCol="0" anchor="t" anchorCtr="0"/>
          <a:lstStyle/>
          <a:p>
            <a:pPr algn="ctr" defTabSz="914049"/>
            <a:r>
              <a:rPr lang="en-US" sz="1836">
                <a:ln w="3175">
                  <a:noFill/>
                </a:ln>
                <a:solidFill>
                  <a:schemeClr val="tx1"/>
                </a:solidFill>
                <a:latin typeface="Segoe UI Semibold"/>
                <a:cs typeface="Segoe UI" pitchFamily="34" charset="0"/>
              </a:rPr>
              <a:t>Implement</a:t>
            </a:r>
          </a:p>
        </p:txBody>
      </p:sp>
      <p:sp>
        <p:nvSpPr>
          <p:cNvPr id="154" name="Rectangle 153">
            <a:extLst>
              <a:ext uri="{FF2B5EF4-FFF2-40B4-BE49-F238E27FC236}">
                <a16:creationId xmlns:a16="http://schemas.microsoft.com/office/drawing/2014/main" id="{321FC369-0662-45F0-BF23-B59606B9B907}"/>
              </a:ext>
            </a:extLst>
          </p:cNvPr>
          <p:cNvSpPr/>
          <p:nvPr/>
        </p:nvSpPr>
        <p:spPr>
          <a:xfrm>
            <a:off x="6105883" y="1454887"/>
            <a:ext cx="2229403" cy="866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7" tIns="73141" rIns="91427" rtlCol="0" anchor="t" anchorCtr="0"/>
          <a:lstStyle/>
          <a:p>
            <a:pPr algn="ctr" defTabSz="914049"/>
            <a:r>
              <a:rPr lang="en-US" sz="1836">
                <a:ln w="3175">
                  <a:noFill/>
                </a:ln>
                <a:solidFill>
                  <a:schemeClr val="tx1"/>
                </a:solidFill>
                <a:latin typeface="Segoe UI Semibold"/>
                <a:cs typeface="Segoe UI" pitchFamily="34" charset="0"/>
              </a:rPr>
              <a:t>Prepare</a:t>
            </a:r>
          </a:p>
        </p:txBody>
      </p:sp>
      <p:sp>
        <p:nvSpPr>
          <p:cNvPr id="145" name="Rectangle 144">
            <a:extLst>
              <a:ext uri="{FF2B5EF4-FFF2-40B4-BE49-F238E27FC236}">
                <a16:creationId xmlns:a16="http://schemas.microsoft.com/office/drawing/2014/main" id="{4494A931-CBDF-4DF5-B1C8-F368D1F8F352}"/>
              </a:ext>
            </a:extLst>
          </p:cNvPr>
          <p:cNvSpPr/>
          <p:nvPr/>
        </p:nvSpPr>
        <p:spPr>
          <a:xfrm>
            <a:off x="394259" y="1479848"/>
            <a:ext cx="2350377" cy="866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7" tIns="73141" rIns="91427" rtlCol="0" anchor="t" anchorCtr="0"/>
          <a:lstStyle/>
          <a:p>
            <a:pPr algn="ctr" defTabSz="914049"/>
            <a:r>
              <a:rPr lang="en-US" sz="1836">
                <a:ln w="3175">
                  <a:noFill/>
                </a:ln>
                <a:solidFill>
                  <a:schemeClr val="tx1"/>
                </a:solidFill>
                <a:latin typeface="Segoe UI Semibold"/>
                <a:cs typeface="Segoe UI" pitchFamily="34" charset="0"/>
              </a:rPr>
              <a:t>Initiate</a:t>
            </a:r>
          </a:p>
        </p:txBody>
      </p:sp>
      <p:sp>
        <p:nvSpPr>
          <p:cNvPr id="157" name="Rectangle 156">
            <a:extLst>
              <a:ext uri="{FF2B5EF4-FFF2-40B4-BE49-F238E27FC236}">
                <a16:creationId xmlns:a16="http://schemas.microsoft.com/office/drawing/2014/main" id="{4F775C03-2D7A-4D0E-B838-CCBE09DD8E54}"/>
              </a:ext>
            </a:extLst>
          </p:cNvPr>
          <p:cNvSpPr/>
          <p:nvPr/>
        </p:nvSpPr>
        <p:spPr>
          <a:xfrm>
            <a:off x="8976700" y="1435555"/>
            <a:ext cx="2340980" cy="866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7" tIns="73141" rIns="91427" rtlCol="0" anchor="t" anchorCtr="0"/>
          <a:lstStyle/>
          <a:p>
            <a:pPr algn="ctr" defTabSz="914049"/>
            <a:r>
              <a:rPr lang="en-US" sz="1836">
                <a:ln w="3175">
                  <a:noFill/>
                </a:ln>
                <a:solidFill>
                  <a:schemeClr val="tx1"/>
                </a:solidFill>
                <a:latin typeface="Segoe UI Semibold"/>
                <a:cs typeface="Segoe UI" pitchFamily="34" charset="0"/>
              </a:rPr>
              <a:t>Operate</a:t>
            </a:r>
          </a:p>
        </p:txBody>
      </p:sp>
      <p:sp>
        <p:nvSpPr>
          <p:cNvPr id="120" name="Rectangle 119">
            <a:extLst>
              <a:ext uri="{FF2B5EF4-FFF2-40B4-BE49-F238E27FC236}">
                <a16:creationId xmlns:a16="http://schemas.microsoft.com/office/drawing/2014/main" id="{CCB9D694-FDE1-43F1-B350-859E69544E7D}"/>
              </a:ext>
            </a:extLst>
          </p:cNvPr>
          <p:cNvSpPr/>
          <p:nvPr/>
        </p:nvSpPr>
        <p:spPr>
          <a:xfrm>
            <a:off x="588339" y="1911218"/>
            <a:ext cx="1997843" cy="360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defTabSz="932205">
              <a:defRPr/>
            </a:pPr>
            <a:r>
              <a:rPr lang="en-US" sz="1600" kern="0">
                <a:solidFill>
                  <a:schemeClr val="tx1"/>
                </a:solidFill>
                <a:latin typeface="Segoe UI"/>
                <a:cs typeface="Segoe UI" pitchFamily="34" charset="0"/>
              </a:rPr>
              <a:t>Get ready to start</a:t>
            </a:r>
          </a:p>
        </p:txBody>
      </p:sp>
      <p:sp>
        <p:nvSpPr>
          <p:cNvPr id="121" name="Rectangle 120">
            <a:extLst>
              <a:ext uri="{FF2B5EF4-FFF2-40B4-BE49-F238E27FC236}">
                <a16:creationId xmlns:a16="http://schemas.microsoft.com/office/drawing/2014/main" id="{46C94A43-F0EB-4323-98AC-C137B50B6F44}"/>
              </a:ext>
            </a:extLst>
          </p:cNvPr>
          <p:cNvSpPr/>
          <p:nvPr/>
        </p:nvSpPr>
        <p:spPr>
          <a:xfrm>
            <a:off x="2278956" y="1902608"/>
            <a:ext cx="1997843" cy="360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defTabSz="932205">
              <a:defRPr/>
            </a:pPr>
            <a:r>
              <a:rPr lang="en-US" sz="1600" kern="0">
                <a:solidFill>
                  <a:schemeClr val="tx1"/>
                </a:solidFill>
                <a:cs typeface="Segoe UI" pitchFamily="34" charset="0"/>
              </a:rPr>
              <a:t>Design</a:t>
            </a:r>
          </a:p>
        </p:txBody>
      </p:sp>
      <p:sp>
        <p:nvSpPr>
          <p:cNvPr id="122" name="Rectangle 121">
            <a:extLst>
              <a:ext uri="{FF2B5EF4-FFF2-40B4-BE49-F238E27FC236}">
                <a16:creationId xmlns:a16="http://schemas.microsoft.com/office/drawing/2014/main" id="{615113FB-1DFA-491C-972F-ED68F7634BAA}"/>
              </a:ext>
            </a:extLst>
          </p:cNvPr>
          <p:cNvSpPr/>
          <p:nvPr/>
        </p:nvSpPr>
        <p:spPr>
          <a:xfrm>
            <a:off x="3499897" y="1911127"/>
            <a:ext cx="1997843" cy="360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defTabSz="932205">
              <a:defRPr/>
            </a:pPr>
            <a:r>
              <a:rPr lang="en-US" sz="1600" kern="0">
                <a:solidFill>
                  <a:schemeClr val="tx1"/>
                </a:solidFill>
                <a:cs typeface="Segoe UI" pitchFamily="34" charset="0"/>
              </a:rPr>
              <a:t>Build</a:t>
            </a:r>
          </a:p>
        </p:txBody>
      </p:sp>
      <p:sp>
        <p:nvSpPr>
          <p:cNvPr id="127" name="Rectangle 126">
            <a:extLst>
              <a:ext uri="{FF2B5EF4-FFF2-40B4-BE49-F238E27FC236}">
                <a16:creationId xmlns:a16="http://schemas.microsoft.com/office/drawing/2014/main" id="{0CC0E609-7B65-4D51-9BF3-2E85C11D39F9}"/>
              </a:ext>
            </a:extLst>
          </p:cNvPr>
          <p:cNvSpPr/>
          <p:nvPr/>
        </p:nvSpPr>
        <p:spPr>
          <a:xfrm>
            <a:off x="5519821" y="1898795"/>
            <a:ext cx="1174442" cy="360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defTabSz="932205">
              <a:defRPr/>
            </a:pPr>
            <a:r>
              <a:rPr lang="en-US" sz="1600" kern="0">
                <a:solidFill>
                  <a:schemeClr val="tx1"/>
                </a:solidFill>
                <a:cs typeface="Segoe UI" pitchFamily="34" charset="0"/>
              </a:rPr>
              <a:t>E2E/SIT</a:t>
            </a:r>
          </a:p>
        </p:txBody>
      </p:sp>
      <p:sp>
        <p:nvSpPr>
          <p:cNvPr id="128" name="Rectangle 127">
            <a:extLst>
              <a:ext uri="{FF2B5EF4-FFF2-40B4-BE49-F238E27FC236}">
                <a16:creationId xmlns:a16="http://schemas.microsoft.com/office/drawing/2014/main" id="{B958CC9B-D9B4-433A-A7D0-2F8E1BF3EFEA}"/>
              </a:ext>
            </a:extLst>
          </p:cNvPr>
          <p:cNvSpPr/>
          <p:nvPr/>
        </p:nvSpPr>
        <p:spPr>
          <a:xfrm>
            <a:off x="9282961" y="1875617"/>
            <a:ext cx="2054042" cy="360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defTabSz="932205">
              <a:defRPr/>
            </a:pPr>
            <a:r>
              <a:rPr lang="en-US" sz="1600" kern="0">
                <a:solidFill>
                  <a:schemeClr val="tx1"/>
                </a:solidFill>
                <a:cs typeface="Segoe UI" pitchFamily="34" charset="0"/>
              </a:rPr>
              <a:t>BAU/Cont. update</a:t>
            </a:r>
          </a:p>
        </p:txBody>
      </p:sp>
      <p:cxnSp>
        <p:nvCxnSpPr>
          <p:cNvPr id="35" name="Straight Connector 34">
            <a:extLst>
              <a:ext uri="{FF2B5EF4-FFF2-40B4-BE49-F238E27FC236}">
                <a16:creationId xmlns:a16="http://schemas.microsoft.com/office/drawing/2014/main" id="{2B9DB361-E185-439A-8F64-7C5F344981E7}"/>
              </a:ext>
            </a:extLst>
          </p:cNvPr>
          <p:cNvCxnSpPr>
            <a:cxnSpLocks/>
          </p:cNvCxnSpPr>
          <p:nvPr/>
        </p:nvCxnSpPr>
        <p:spPr>
          <a:xfrm flipH="1">
            <a:off x="2663366" y="1183820"/>
            <a:ext cx="20423" cy="5660669"/>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A5CB997F-ADF5-4E13-B978-D7C117644327}"/>
              </a:ext>
            </a:extLst>
          </p:cNvPr>
          <p:cNvCxnSpPr>
            <a:cxnSpLocks/>
          </p:cNvCxnSpPr>
          <p:nvPr/>
        </p:nvCxnSpPr>
        <p:spPr>
          <a:xfrm>
            <a:off x="5525992" y="1068975"/>
            <a:ext cx="0" cy="5775514"/>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8B46780E-C953-4BCE-BA52-4AED41B62683}"/>
              </a:ext>
            </a:extLst>
          </p:cNvPr>
          <p:cNvSpPr/>
          <p:nvPr/>
        </p:nvSpPr>
        <p:spPr bwMode="auto">
          <a:xfrm>
            <a:off x="1122244" y="1392311"/>
            <a:ext cx="976174" cy="87492"/>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29" name="Straight Connector 128">
            <a:extLst>
              <a:ext uri="{FF2B5EF4-FFF2-40B4-BE49-F238E27FC236}">
                <a16:creationId xmlns:a16="http://schemas.microsoft.com/office/drawing/2014/main" id="{5ACDC14C-DC7D-4AB9-B751-8E7A68C368FD}"/>
              </a:ext>
            </a:extLst>
          </p:cNvPr>
          <p:cNvCxnSpPr>
            <a:cxnSpLocks/>
          </p:cNvCxnSpPr>
          <p:nvPr/>
        </p:nvCxnSpPr>
        <p:spPr>
          <a:xfrm>
            <a:off x="757153" y="1822875"/>
            <a:ext cx="10577508"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4">
            <a:extLst>
              <a:ext uri="{FF2B5EF4-FFF2-40B4-BE49-F238E27FC236}">
                <a16:creationId xmlns:a16="http://schemas.microsoft.com/office/drawing/2014/main" id="{9C10748E-BD0C-4011-8EE8-6D3E39183240}"/>
              </a:ext>
            </a:extLst>
          </p:cNvPr>
          <p:cNvSpPr/>
          <p:nvPr/>
        </p:nvSpPr>
        <p:spPr bwMode="auto">
          <a:xfrm>
            <a:off x="3457308" y="1392311"/>
            <a:ext cx="976174" cy="87492"/>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Rounded Corners 14">
            <a:extLst>
              <a:ext uri="{FF2B5EF4-FFF2-40B4-BE49-F238E27FC236}">
                <a16:creationId xmlns:a16="http://schemas.microsoft.com/office/drawing/2014/main" id="{8B180A5A-9045-4311-85C3-194342ECA99C}"/>
              </a:ext>
            </a:extLst>
          </p:cNvPr>
          <p:cNvSpPr/>
          <p:nvPr/>
        </p:nvSpPr>
        <p:spPr bwMode="auto">
          <a:xfrm>
            <a:off x="6731168" y="1392311"/>
            <a:ext cx="976174" cy="87492"/>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2" name="Rectangle: Rounded Corners 14">
            <a:extLst>
              <a:ext uri="{FF2B5EF4-FFF2-40B4-BE49-F238E27FC236}">
                <a16:creationId xmlns:a16="http://schemas.microsoft.com/office/drawing/2014/main" id="{380BEE67-DFAE-4895-8960-EF2A15A2EF8A}"/>
              </a:ext>
            </a:extLst>
          </p:cNvPr>
          <p:cNvSpPr/>
          <p:nvPr/>
        </p:nvSpPr>
        <p:spPr bwMode="auto">
          <a:xfrm>
            <a:off x="9640913" y="1392311"/>
            <a:ext cx="976174" cy="87492"/>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id="{74FB8611-1545-4B1A-92EB-B7C6CBA9633A}"/>
              </a:ext>
            </a:extLst>
          </p:cNvPr>
          <p:cNvCxnSpPr>
            <a:cxnSpLocks/>
          </p:cNvCxnSpPr>
          <p:nvPr/>
        </p:nvCxnSpPr>
        <p:spPr>
          <a:xfrm flipH="1">
            <a:off x="9347552" y="2278798"/>
            <a:ext cx="484130" cy="0"/>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3" name="TextBox 252">
            <a:extLst>
              <a:ext uri="{FF2B5EF4-FFF2-40B4-BE49-F238E27FC236}">
                <a16:creationId xmlns:a16="http://schemas.microsoft.com/office/drawing/2014/main" id="{1CFEBDCF-B0E8-469D-BFFF-8841E4DCE54D}"/>
              </a:ext>
            </a:extLst>
          </p:cNvPr>
          <p:cNvSpPr txBox="1"/>
          <p:nvPr/>
        </p:nvSpPr>
        <p:spPr>
          <a:xfrm>
            <a:off x="9791254" y="2376950"/>
            <a:ext cx="703150" cy="243976"/>
          </a:xfrm>
          <a:prstGeom prst="rect">
            <a:avLst/>
          </a:prstGeom>
          <a:noFill/>
          <a:ln>
            <a:noFill/>
          </a:ln>
        </p:spPr>
        <p:txBody>
          <a:bodyPr wrap="square" lIns="91427" tIns="0" rIns="0" bIns="0" rtlCol="0" anchor="ctr" anchorCtr="0">
            <a:noAutofit/>
          </a:bodyPr>
          <a:lstStyle/>
          <a:p>
            <a:pPr defTabSz="913841">
              <a:defRPr/>
            </a:pPr>
            <a:r>
              <a:rPr lang="en-US" sz="1100" kern="0">
                <a:cs typeface="Segoe UI" pitchFamily="34" charset="0"/>
              </a:rPr>
              <a:t>Go Live</a:t>
            </a:r>
          </a:p>
        </p:txBody>
      </p:sp>
      <p:cxnSp>
        <p:nvCxnSpPr>
          <p:cNvPr id="58" name="Straight Connector 57">
            <a:extLst>
              <a:ext uri="{FF2B5EF4-FFF2-40B4-BE49-F238E27FC236}">
                <a16:creationId xmlns:a16="http://schemas.microsoft.com/office/drawing/2014/main" id="{2B6CAFB5-E4DE-47CF-B456-018A2FB4320A}"/>
              </a:ext>
            </a:extLst>
          </p:cNvPr>
          <p:cNvCxnSpPr/>
          <p:nvPr/>
        </p:nvCxnSpPr>
        <p:spPr>
          <a:xfrm>
            <a:off x="9831683" y="2376950"/>
            <a:ext cx="0" cy="243976"/>
          </a:xfrm>
          <a:prstGeom prst="line">
            <a:avLst/>
          </a:prstGeom>
          <a:ln>
            <a:solidFill>
              <a:schemeClr val="tx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88FE7E29-5121-4E45-B8A9-DFF3D0CCED4B}"/>
              </a:ext>
            </a:extLst>
          </p:cNvPr>
          <p:cNvGrpSpPr/>
          <p:nvPr/>
        </p:nvGrpSpPr>
        <p:grpSpPr>
          <a:xfrm>
            <a:off x="3805573" y="850544"/>
            <a:ext cx="279647" cy="474954"/>
            <a:chOff x="-1790207" y="1398786"/>
            <a:chExt cx="855952" cy="1453753"/>
          </a:xfrm>
          <a:solidFill>
            <a:schemeClr val="accent2"/>
          </a:solidFill>
        </p:grpSpPr>
        <p:sp>
          <p:nvSpPr>
            <p:cNvPr id="67" name="Freeform 5">
              <a:extLst>
                <a:ext uri="{FF2B5EF4-FFF2-40B4-BE49-F238E27FC236}">
                  <a16:creationId xmlns:a16="http://schemas.microsoft.com/office/drawing/2014/main" id="{C4D608BF-192C-456D-8CF1-A95102224BB1}"/>
                </a:ext>
              </a:extLst>
            </p:cNvPr>
            <p:cNvSpPr>
              <a:spLocks/>
            </p:cNvSpPr>
            <p:nvPr/>
          </p:nvSpPr>
          <p:spPr bwMode="auto">
            <a:xfrm>
              <a:off x="-1790207" y="2180006"/>
              <a:ext cx="210592" cy="672533"/>
            </a:xfrm>
            <a:custGeom>
              <a:avLst/>
              <a:gdLst>
                <a:gd name="T0" fmla="*/ 43 w 43"/>
                <a:gd name="T1" fmla="*/ 0 h 139"/>
                <a:gd name="T2" fmla="*/ 43 w 43"/>
                <a:gd name="T3" fmla="*/ 117 h 139"/>
                <a:gd name="T4" fmla="*/ 41 w 43"/>
                <a:gd name="T5" fmla="*/ 125 h 139"/>
                <a:gd name="T6" fmla="*/ 37 w 43"/>
                <a:gd name="T7" fmla="*/ 132 h 139"/>
                <a:gd name="T8" fmla="*/ 30 w 43"/>
                <a:gd name="T9" fmla="*/ 137 h 139"/>
                <a:gd name="T10" fmla="*/ 22 w 43"/>
                <a:gd name="T11" fmla="*/ 139 h 139"/>
                <a:gd name="T12" fmla="*/ 13 w 43"/>
                <a:gd name="T13" fmla="*/ 137 h 139"/>
                <a:gd name="T14" fmla="*/ 6 w 43"/>
                <a:gd name="T15" fmla="*/ 132 h 139"/>
                <a:gd name="T16" fmla="*/ 2 w 43"/>
                <a:gd name="T17" fmla="*/ 125 h 139"/>
                <a:gd name="T18" fmla="*/ 0 w 43"/>
                <a:gd name="T19" fmla="*/ 117 h 139"/>
                <a:gd name="T20" fmla="*/ 0 w 43"/>
                <a:gd name="T21" fmla="*/ 0 h 139"/>
                <a:gd name="T22" fmla="*/ 43 w 43"/>
                <a:gd name="T2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139">
                  <a:moveTo>
                    <a:pt x="43" y="0"/>
                  </a:moveTo>
                  <a:cubicBezTo>
                    <a:pt x="43" y="117"/>
                    <a:pt x="43" y="117"/>
                    <a:pt x="43" y="117"/>
                  </a:cubicBezTo>
                  <a:cubicBezTo>
                    <a:pt x="43" y="120"/>
                    <a:pt x="42" y="123"/>
                    <a:pt x="41" y="125"/>
                  </a:cubicBezTo>
                  <a:cubicBezTo>
                    <a:pt x="40" y="128"/>
                    <a:pt x="39" y="130"/>
                    <a:pt x="37" y="132"/>
                  </a:cubicBezTo>
                  <a:cubicBezTo>
                    <a:pt x="35" y="135"/>
                    <a:pt x="32" y="136"/>
                    <a:pt x="30" y="137"/>
                  </a:cubicBezTo>
                  <a:cubicBezTo>
                    <a:pt x="27" y="138"/>
                    <a:pt x="24" y="139"/>
                    <a:pt x="22" y="139"/>
                  </a:cubicBezTo>
                  <a:cubicBezTo>
                    <a:pt x="19" y="139"/>
                    <a:pt x="16" y="138"/>
                    <a:pt x="13" y="137"/>
                  </a:cubicBezTo>
                  <a:cubicBezTo>
                    <a:pt x="11" y="136"/>
                    <a:pt x="8" y="135"/>
                    <a:pt x="6" y="132"/>
                  </a:cubicBezTo>
                  <a:cubicBezTo>
                    <a:pt x="4" y="130"/>
                    <a:pt x="3" y="128"/>
                    <a:pt x="2" y="125"/>
                  </a:cubicBezTo>
                  <a:cubicBezTo>
                    <a:pt x="1" y="123"/>
                    <a:pt x="0" y="120"/>
                    <a:pt x="0" y="117"/>
                  </a:cubicBezTo>
                  <a:cubicBezTo>
                    <a:pt x="0" y="0"/>
                    <a:pt x="0" y="0"/>
                    <a:pt x="0" y="0"/>
                  </a:cubicBezTo>
                  <a:lnTo>
                    <a:pt x="43" y="0"/>
                  </a:lnTo>
                  <a:close/>
                </a:path>
              </a:pathLst>
            </a:custGeom>
            <a:grpFill/>
            <a:ln>
              <a:noFill/>
            </a:ln>
          </p:spPr>
          <p:txBody>
            <a:bodyPr vert="horz" wrap="square" lIns="91427" tIns="45713" rIns="91427" bIns="45713" numCol="1" anchor="t" anchorCtr="0" compatLnSpc="1">
              <a:prstTxWarp prst="textNoShape">
                <a:avLst/>
              </a:prstTxWarp>
            </a:bodyPr>
            <a:lstStyle/>
            <a:p>
              <a:endParaRPr lang="en-US" sz="1836"/>
            </a:p>
          </p:txBody>
        </p:sp>
        <p:sp>
          <p:nvSpPr>
            <p:cNvPr id="68" name="Freeform 6">
              <a:extLst>
                <a:ext uri="{FF2B5EF4-FFF2-40B4-BE49-F238E27FC236}">
                  <a16:creationId xmlns:a16="http://schemas.microsoft.com/office/drawing/2014/main" id="{034B2A6E-84A1-4D78-9CDF-572A8A90B52F}"/>
                </a:ext>
              </a:extLst>
            </p:cNvPr>
            <p:cNvSpPr>
              <a:spLocks/>
            </p:cNvSpPr>
            <p:nvPr/>
          </p:nvSpPr>
          <p:spPr bwMode="auto">
            <a:xfrm>
              <a:off x="-1790207" y="1398786"/>
              <a:ext cx="210592" cy="781225"/>
            </a:xfrm>
            <a:custGeom>
              <a:avLst/>
              <a:gdLst>
                <a:gd name="T0" fmla="*/ 31 w 31"/>
                <a:gd name="T1" fmla="*/ 0 h 115"/>
                <a:gd name="T2" fmla="*/ 0 w 31"/>
                <a:gd name="T3" fmla="*/ 0 h 115"/>
                <a:gd name="T4" fmla="*/ 0 w 31"/>
                <a:gd name="T5" fmla="*/ 31 h 115"/>
                <a:gd name="T6" fmla="*/ 8 w 31"/>
                <a:gd name="T7" fmla="*/ 38 h 115"/>
                <a:gd name="T8" fmla="*/ 8 w 31"/>
                <a:gd name="T9" fmla="*/ 115 h 115"/>
                <a:gd name="T10" fmla="*/ 23 w 31"/>
                <a:gd name="T11" fmla="*/ 115 h 115"/>
                <a:gd name="T12" fmla="*/ 23 w 31"/>
                <a:gd name="T13" fmla="*/ 38 h 115"/>
                <a:gd name="T14" fmla="*/ 31 w 31"/>
                <a:gd name="T15" fmla="*/ 31 h 115"/>
                <a:gd name="T16" fmla="*/ 31 w 31"/>
                <a:gd name="T17"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15">
                  <a:moveTo>
                    <a:pt x="31" y="0"/>
                  </a:moveTo>
                  <a:lnTo>
                    <a:pt x="0" y="0"/>
                  </a:lnTo>
                  <a:lnTo>
                    <a:pt x="0" y="31"/>
                  </a:lnTo>
                  <a:lnTo>
                    <a:pt x="8" y="38"/>
                  </a:lnTo>
                  <a:lnTo>
                    <a:pt x="8" y="115"/>
                  </a:lnTo>
                  <a:lnTo>
                    <a:pt x="23" y="115"/>
                  </a:lnTo>
                  <a:lnTo>
                    <a:pt x="23" y="38"/>
                  </a:lnTo>
                  <a:lnTo>
                    <a:pt x="31" y="31"/>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36"/>
            </a:p>
          </p:txBody>
        </p:sp>
        <p:sp>
          <p:nvSpPr>
            <p:cNvPr id="69" name="Rectangle 7">
              <a:extLst>
                <a:ext uri="{FF2B5EF4-FFF2-40B4-BE49-F238E27FC236}">
                  <a16:creationId xmlns:a16="http://schemas.microsoft.com/office/drawing/2014/main" id="{97DB5CC8-E1C3-4F8A-9FD0-78B8F4238EB0}"/>
                </a:ext>
              </a:extLst>
            </p:cNvPr>
            <p:cNvSpPr>
              <a:spLocks noChangeArrowheads="1"/>
            </p:cNvSpPr>
            <p:nvPr/>
          </p:nvSpPr>
          <p:spPr bwMode="auto">
            <a:xfrm>
              <a:off x="-1790207" y="2281907"/>
              <a:ext cx="210592" cy="101901"/>
            </a:xfrm>
            <a:prstGeom prst="rect">
              <a:avLst/>
            </a:prstGeom>
            <a:grpFill/>
            <a:ln>
              <a:noFill/>
            </a:ln>
          </p:spPr>
          <p:txBody>
            <a:bodyPr vert="horz" wrap="square" lIns="91427" tIns="45713" rIns="91427" bIns="45713" numCol="1" anchor="t" anchorCtr="0" compatLnSpc="1">
              <a:prstTxWarp prst="textNoShape">
                <a:avLst/>
              </a:prstTxWarp>
            </a:bodyPr>
            <a:lstStyle/>
            <a:p>
              <a:endParaRPr lang="en-US" sz="1836"/>
            </a:p>
          </p:txBody>
        </p:sp>
        <p:sp>
          <p:nvSpPr>
            <p:cNvPr id="70" name="Freeform 8">
              <a:extLst>
                <a:ext uri="{FF2B5EF4-FFF2-40B4-BE49-F238E27FC236}">
                  <a16:creationId xmlns:a16="http://schemas.microsoft.com/office/drawing/2014/main" id="{C4E2EBFA-AC58-4C3F-B5BC-873C0AC97F04}"/>
                </a:ext>
              </a:extLst>
            </p:cNvPr>
            <p:cNvSpPr>
              <a:spLocks noEditPoints="1"/>
            </p:cNvSpPr>
            <p:nvPr/>
          </p:nvSpPr>
          <p:spPr bwMode="auto">
            <a:xfrm>
              <a:off x="-1396195" y="1398786"/>
              <a:ext cx="461940" cy="1453753"/>
            </a:xfrm>
            <a:custGeom>
              <a:avLst/>
              <a:gdLst>
                <a:gd name="T0" fmla="*/ 91 w 95"/>
                <a:gd name="T1" fmla="*/ 24 h 299"/>
                <a:gd name="T2" fmla="*/ 81 w 95"/>
                <a:gd name="T3" fmla="*/ 9 h 299"/>
                <a:gd name="T4" fmla="*/ 69 w 95"/>
                <a:gd name="T5" fmla="*/ 0 h 299"/>
                <a:gd name="T6" fmla="*/ 68 w 95"/>
                <a:gd name="T7" fmla="*/ 54 h 299"/>
                <a:gd name="T8" fmla="*/ 26 w 95"/>
                <a:gd name="T9" fmla="*/ 54 h 299"/>
                <a:gd name="T10" fmla="*/ 26 w 95"/>
                <a:gd name="T11" fmla="*/ 0 h 299"/>
                <a:gd name="T12" fmla="*/ 14 w 95"/>
                <a:gd name="T13" fmla="*/ 9 h 299"/>
                <a:gd name="T14" fmla="*/ 4 w 95"/>
                <a:gd name="T15" fmla="*/ 24 h 299"/>
                <a:gd name="T16" fmla="*/ 0 w 95"/>
                <a:gd name="T17" fmla="*/ 42 h 299"/>
                <a:gd name="T18" fmla="*/ 4 w 95"/>
                <a:gd name="T19" fmla="*/ 60 h 299"/>
                <a:gd name="T20" fmla="*/ 14 w 95"/>
                <a:gd name="T21" fmla="*/ 76 h 299"/>
                <a:gd name="T22" fmla="*/ 19 w 95"/>
                <a:gd name="T23" fmla="*/ 80 h 299"/>
                <a:gd name="T24" fmla="*/ 25 w 95"/>
                <a:gd name="T25" fmla="*/ 84 h 299"/>
                <a:gd name="T26" fmla="*/ 25 w 95"/>
                <a:gd name="T27" fmla="*/ 277 h 299"/>
                <a:gd name="T28" fmla="*/ 27 w 95"/>
                <a:gd name="T29" fmla="*/ 285 h 299"/>
                <a:gd name="T30" fmla="*/ 32 w 95"/>
                <a:gd name="T31" fmla="*/ 292 h 299"/>
                <a:gd name="T32" fmla="*/ 39 w 95"/>
                <a:gd name="T33" fmla="*/ 297 h 299"/>
                <a:gd name="T34" fmla="*/ 47 w 95"/>
                <a:gd name="T35" fmla="*/ 299 h 299"/>
                <a:gd name="T36" fmla="*/ 56 w 95"/>
                <a:gd name="T37" fmla="*/ 297 h 299"/>
                <a:gd name="T38" fmla="*/ 63 w 95"/>
                <a:gd name="T39" fmla="*/ 292 h 299"/>
                <a:gd name="T40" fmla="*/ 68 w 95"/>
                <a:gd name="T41" fmla="*/ 285 h 299"/>
                <a:gd name="T42" fmla="*/ 69 w 95"/>
                <a:gd name="T43" fmla="*/ 277 h 299"/>
                <a:gd name="T44" fmla="*/ 69 w 95"/>
                <a:gd name="T45" fmla="*/ 84 h 299"/>
                <a:gd name="T46" fmla="*/ 75 w 95"/>
                <a:gd name="T47" fmla="*/ 80 h 299"/>
                <a:gd name="T48" fmla="*/ 81 w 95"/>
                <a:gd name="T49" fmla="*/ 76 h 299"/>
                <a:gd name="T50" fmla="*/ 91 w 95"/>
                <a:gd name="T51" fmla="*/ 60 h 299"/>
                <a:gd name="T52" fmla="*/ 95 w 95"/>
                <a:gd name="T53" fmla="*/ 42 h 299"/>
                <a:gd name="T54" fmla="*/ 91 w 95"/>
                <a:gd name="T55" fmla="*/ 24 h 299"/>
                <a:gd name="T56" fmla="*/ 47 w 95"/>
                <a:gd name="T57" fmla="*/ 288 h 299"/>
                <a:gd name="T58" fmla="*/ 37 w 95"/>
                <a:gd name="T59" fmla="*/ 278 h 299"/>
                <a:gd name="T60" fmla="*/ 47 w 95"/>
                <a:gd name="T61" fmla="*/ 267 h 299"/>
                <a:gd name="T62" fmla="*/ 58 w 95"/>
                <a:gd name="T63" fmla="*/ 278 h 299"/>
                <a:gd name="T64" fmla="*/ 47 w 95"/>
                <a:gd name="T65" fmla="*/ 28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299">
                  <a:moveTo>
                    <a:pt x="91" y="24"/>
                  </a:moveTo>
                  <a:cubicBezTo>
                    <a:pt x="89" y="18"/>
                    <a:pt x="85" y="13"/>
                    <a:pt x="81" y="9"/>
                  </a:cubicBezTo>
                  <a:cubicBezTo>
                    <a:pt x="77" y="5"/>
                    <a:pt x="73" y="2"/>
                    <a:pt x="69" y="0"/>
                  </a:cubicBezTo>
                  <a:cubicBezTo>
                    <a:pt x="68" y="54"/>
                    <a:pt x="68" y="54"/>
                    <a:pt x="68" y="54"/>
                  </a:cubicBezTo>
                  <a:cubicBezTo>
                    <a:pt x="26" y="54"/>
                    <a:pt x="26" y="54"/>
                    <a:pt x="26" y="54"/>
                  </a:cubicBezTo>
                  <a:cubicBezTo>
                    <a:pt x="26" y="0"/>
                    <a:pt x="26" y="0"/>
                    <a:pt x="26" y="0"/>
                  </a:cubicBezTo>
                  <a:cubicBezTo>
                    <a:pt x="22" y="2"/>
                    <a:pt x="18" y="5"/>
                    <a:pt x="14" y="9"/>
                  </a:cubicBezTo>
                  <a:cubicBezTo>
                    <a:pt x="9" y="13"/>
                    <a:pt x="6" y="18"/>
                    <a:pt x="4" y="24"/>
                  </a:cubicBezTo>
                  <a:cubicBezTo>
                    <a:pt x="1" y="30"/>
                    <a:pt x="0" y="36"/>
                    <a:pt x="0" y="42"/>
                  </a:cubicBezTo>
                  <a:cubicBezTo>
                    <a:pt x="0" y="48"/>
                    <a:pt x="1" y="54"/>
                    <a:pt x="4" y="60"/>
                  </a:cubicBezTo>
                  <a:cubicBezTo>
                    <a:pt x="6" y="66"/>
                    <a:pt x="9" y="71"/>
                    <a:pt x="14" y="76"/>
                  </a:cubicBezTo>
                  <a:cubicBezTo>
                    <a:pt x="16" y="77"/>
                    <a:pt x="18" y="79"/>
                    <a:pt x="19" y="80"/>
                  </a:cubicBezTo>
                  <a:cubicBezTo>
                    <a:pt x="21" y="82"/>
                    <a:pt x="23" y="83"/>
                    <a:pt x="25" y="84"/>
                  </a:cubicBezTo>
                  <a:cubicBezTo>
                    <a:pt x="25" y="277"/>
                    <a:pt x="25" y="277"/>
                    <a:pt x="25" y="277"/>
                  </a:cubicBezTo>
                  <a:cubicBezTo>
                    <a:pt x="25" y="280"/>
                    <a:pt x="26" y="283"/>
                    <a:pt x="27" y="285"/>
                  </a:cubicBezTo>
                  <a:cubicBezTo>
                    <a:pt x="28" y="288"/>
                    <a:pt x="30" y="290"/>
                    <a:pt x="32" y="292"/>
                  </a:cubicBezTo>
                  <a:cubicBezTo>
                    <a:pt x="34" y="295"/>
                    <a:pt x="36" y="296"/>
                    <a:pt x="39" y="297"/>
                  </a:cubicBezTo>
                  <a:cubicBezTo>
                    <a:pt x="42" y="298"/>
                    <a:pt x="45" y="299"/>
                    <a:pt x="47" y="299"/>
                  </a:cubicBezTo>
                  <a:cubicBezTo>
                    <a:pt x="50" y="299"/>
                    <a:pt x="53" y="298"/>
                    <a:pt x="56" y="297"/>
                  </a:cubicBezTo>
                  <a:cubicBezTo>
                    <a:pt x="58" y="296"/>
                    <a:pt x="61" y="295"/>
                    <a:pt x="63" y="292"/>
                  </a:cubicBezTo>
                  <a:cubicBezTo>
                    <a:pt x="65" y="290"/>
                    <a:pt x="67" y="288"/>
                    <a:pt x="68" y="285"/>
                  </a:cubicBezTo>
                  <a:cubicBezTo>
                    <a:pt x="69" y="283"/>
                    <a:pt x="69" y="280"/>
                    <a:pt x="69" y="277"/>
                  </a:cubicBezTo>
                  <a:cubicBezTo>
                    <a:pt x="69" y="84"/>
                    <a:pt x="69" y="84"/>
                    <a:pt x="69" y="84"/>
                  </a:cubicBezTo>
                  <a:cubicBezTo>
                    <a:pt x="71" y="83"/>
                    <a:pt x="73" y="82"/>
                    <a:pt x="75" y="80"/>
                  </a:cubicBezTo>
                  <a:cubicBezTo>
                    <a:pt x="77" y="79"/>
                    <a:pt x="79" y="77"/>
                    <a:pt x="81" y="76"/>
                  </a:cubicBezTo>
                  <a:cubicBezTo>
                    <a:pt x="85" y="71"/>
                    <a:pt x="89" y="66"/>
                    <a:pt x="91" y="60"/>
                  </a:cubicBezTo>
                  <a:cubicBezTo>
                    <a:pt x="94" y="54"/>
                    <a:pt x="95" y="48"/>
                    <a:pt x="95" y="42"/>
                  </a:cubicBezTo>
                  <a:cubicBezTo>
                    <a:pt x="95" y="36"/>
                    <a:pt x="94" y="30"/>
                    <a:pt x="91" y="24"/>
                  </a:cubicBezTo>
                  <a:close/>
                  <a:moveTo>
                    <a:pt x="47" y="288"/>
                  </a:moveTo>
                  <a:cubicBezTo>
                    <a:pt x="41" y="288"/>
                    <a:pt x="37" y="283"/>
                    <a:pt x="37" y="278"/>
                  </a:cubicBezTo>
                  <a:cubicBezTo>
                    <a:pt x="37" y="272"/>
                    <a:pt x="41" y="267"/>
                    <a:pt x="47" y="267"/>
                  </a:cubicBezTo>
                  <a:cubicBezTo>
                    <a:pt x="53" y="267"/>
                    <a:pt x="58" y="272"/>
                    <a:pt x="58" y="278"/>
                  </a:cubicBezTo>
                  <a:cubicBezTo>
                    <a:pt x="58" y="283"/>
                    <a:pt x="53" y="288"/>
                    <a:pt x="47" y="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36"/>
            </a:p>
          </p:txBody>
        </p:sp>
      </p:grpSp>
      <p:grpSp>
        <p:nvGrpSpPr>
          <p:cNvPr id="91" name="Group 90">
            <a:extLst>
              <a:ext uri="{FF2B5EF4-FFF2-40B4-BE49-F238E27FC236}">
                <a16:creationId xmlns:a16="http://schemas.microsoft.com/office/drawing/2014/main" id="{2F7010F5-D246-49EC-9586-239B214B703F}"/>
              </a:ext>
            </a:extLst>
          </p:cNvPr>
          <p:cNvGrpSpPr/>
          <p:nvPr/>
        </p:nvGrpSpPr>
        <p:grpSpPr>
          <a:xfrm>
            <a:off x="6987313" y="850544"/>
            <a:ext cx="463884" cy="463884"/>
            <a:chOff x="-1642155" y="3458482"/>
            <a:chExt cx="327026" cy="327026"/>
          </a:xfrm>
          <a:solidFill>
            <a:schemeClr val="accent2"/>
          </a:solidFill>
        </p:grpSpPr>
        <p:sp>
          <p:nvSpPr>
            <p:cNvPr id="80" name="Freeform 12">
              <a:extLst>
                <a:ext uri="{FF2B5EF4-FFF2-40B4-BE49-F238E27FC236}">
                  <a16:creationId xmlns:a16="http://schemas.microsoft.com/office/drawing/2014/main" id="{982B3D20-86B5-4908-A2FE-CBF0E8869C39}"/>
                </a:ext>
              </a:extLst>
            </p:cNvPr>
            <p:cNvSpPr>
              <a:spLocks/>
            </p:cNvSpPr>
            <p:nvPr/>
          </p:nvSpPr>
          <p:spPr bwMode="auto">
            <a:xfrm>
              <a:off x="-1550080" y="3714070"/>
              <a:ext cx="142875" cy="71438"/>
            </a:xfrm>
            <a:custGeom>
              <a:avLst/>
              <a:gdLst>
                <a:gd name="T0" fmla="*/ 74 w 149"/>
                <a:gd name="T1" fmla="*/ 0 h 74"/>
                <a:gd name="T2" fmla="*/ 0 w 149"/>
                <a:gd name="T3" fmla="*/ 74 h 74"/>
                <a:gd name="T4" fmla="*/ 149 w 149"/>
                <a:gd name="T5" fmla="*/ 74 h 74"/>
                <a:gd name="T6" fmla="*/ 74 w 149"/>
                <a:gd name="T7" fmla="*/ 0 h 74"/>
              </a:gdLst>
              <a:ahLst/>
              <a:cxnLst>
                <a:cxn ang="0">
                  <a:pos x="T0" y="T1"/>
                </a:cxn>
                <a:cxn ang="0">
                  <a:pos x="T2" y="T3"/>
                </a:cxn>
                <a:cxn ang="0">
                  <a:pos x="T4" y="T5"/>
                </a:cxn>
                <a:cxn ang="0">
                  <a:pos x="T6" y="T7"/>
                </a:cxn>
              </a:cxnLst>
              <a:rect l="0" t="0" r="r" b="b"/>
              <a:pathLst>
                <a:path w="149" h="74">
                  <a:moveTo>
                    <a:pt x="74" y="0"/>
                  </a:moveTo>
                  <a:cubicBezTo>
                    <a:pt x="33" y="0"/>
                    <a:pt x="0" y="33"/>
                    <a:pt x="0" y="74"/>
                  </a:cubicBezTo>
                  <a:cubicBezTo>
                    <a:pt x="149" y="74"/>
                    <a:pt x="149" y="74"/>
                    <a:pt x="149" y="74"/>
                  </a:cubicBezTo>
                  <a:cubicBezTo>
                    <a:pt x="149" y="33"/>
                    <a:pt x="116" y="0"/>
                    <a:pt x="74" y="0"/>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sz="1836"/>
            </a:p>
          </p:txBody>
        </p:sp>
        <p:sp>
          <p:nvSpPr>
            <p:cNvPr id="81" name="Oval 13">
              <a:extLst>
                <a:ext uri="{FF2B5EF4-FFF2-40B4-BE49-F238E27FC236}">
                  <a16:creationId xmlns:a16="http://schemas.microsoft.com/office/drawing/2014/main" id="{EA273794-0979-4CD1-8D12-4E1C4E4BF717}"/>
                </a:ext>
              </a:extLst>
            </p:cNvPr>
            <p:cNvSpPr>
              <a:spLocks noChangeArrowheads="1"/>
            </p:cNvSpPr>
            <p:nvPr/>
          </p:nvSpPr>
          <p:spPr bwMode="auto">
            <a:xfrm>
              <a:off x="-1510392" y="3631520"/>
              <a:ext cx="61913" cy="61913"/>
            </a:xfrm>
            <a:prstGeom prst="ellipse">
              <a:avLst/>
            </a:prstGeom>
            <a:grpFill/>
            <a:ln>
              <a:noFill/>
            </a:ln>
          </p:spPr>
          <p:txBody>
            <a:bodyPr vert="horz" wrap="square" lIns="91427" tIns="45713" rIns="91427" bIns="45713" numCol="1" anchor="t" anchorCtr="0" compatLnSpc="1">
              <a:prstTxWarp prst="textNoShape">
                <a:avLst/>
              </a:prstTxWarp>
            </a:bodyPr>
            <a:lstStyle/>
            <a:p>
              <a:endParaRPr lang="en-US" sz="1836"/>
            </a:p>
          </p:txBody>
        </p:sp>
        <p:sp>
          <p:nvSpPr>
            <p:cNvPr id="82" name="Oval 14">
              <a:extLst>
                <a:ext uri="{FF2B5EF4-FFF2-40B4-BE49-F238E27FC236}">
                  <a16:creationId xmlns:a16="http://schemas.microsoft.com/office/drawing/2014/main" id="{6F7BA9CC-B26B-48E2-9217-B4AAF833A83E}"/>
                </a:ext>
              </a:extLst>
            </p:cNvPr>
            <p:cNvSpPr>
              <a:spLocks noChangeArrowheads="1"/>
            </p:cNvSpPr>
            <p:nvPr/>
          </p:nvSpPr>
          <p:spPr bwMode="auto">
            <a:xfrm>
              <a:off x="-1377042" y="3509282"/>
              <a:ext cx="41275" cy="41275"/>
            </a:xfrm>
            <a:prstGeom prst="ellipse">
              <a:avLst/>
            </a:prstGeom>
            <a:grpFill/>
            <a:ln>
              <a:noFill/>
            </a:ln>
          </p:spPr>
          <p:txBody>
            <a:bodyPr vert="horz" wrap="square" lIns="91427" tIns="45713" rIns="91427" bIns="45713" numCol="1" anchor="t" anchorCtr="0" compatLnSpc="1">
              <a:prstTxWarp prst="textNoShape">
                <a:avLst/>
              </a:prstTxWarp>
            </a:bodyPr>
            <a:lstStyle/>
            <a:p>
              <a:endParaRPr lang="en-US" sz="1836"/>
            </a:p>
          </p:txBody>
        </p:sp>
        <p:sp>
          <p:nvSpPr>
            <p:cNvPr id="83" name="Freeform 15">
              <a:extLst>
                <a:ext uri="{FF2B5EF4-FFF2-40B4-BE49-F238E27FC236}">
                  <a16:creationId xmlns:a16="http://schemas.microsoft.com/office/drawing/2014/main" id="{50D46727-642D-424E-ABBA-360F6559ADF5}"/>
                </a:ext>
              </a:extLst>
            </p:cNvPr>
            <p:cNvSpPr>
              <a:spLocks/>
            </p:cNvSpPr>
            <p:nvPr/>
          </p:nvSpPr>
          <p:spPr bwMode="auto">
            <a:xfrm>
              <a:off x="-1396092" y="3561670"/>
              <a:ext cx="80963" cy="39688"/>
            </a:xfrm>
            <a:custGeom>
              <a:avLst/>
              <a:gdLst>
                <a:gd name="T0" fmla="*/ 42 w 85"/>
                <a:gd name="T1" fmla="*/ 0 h 42"/>
                <a:gd name="T2" fmla="*/ 0 w 85"/>
                <a:gd name="T3" fmla="*/ 42 h 42"/>
                <a:gd name="T4" fmla="*/ 85 w 85"/>
                <a:gd name="T5" fmla="*/ 42 h 42"/>
                <a:gd name="T6" fmla="*/ 42 w 85"/>
                <a:gd name="T7" fmla="*/ 0 h 42"/>
              </a:gdLst>
              <a:ahLst/>
              <a:cxnLst>
                <a:cxn ang="0">
                  <a:pos x="T0" y="T1"/>
                </a:cxn>
                <a:cxn ang="0">
                  <a:pos x="T2" y="T3"/>
                </a:cxn>
                <a:cxn ang="0">
                  <a:pos x="T4" y="T5"/>
                </a:cxn>
                <a:cxn ang="0">
                  <a:pos x="T6" y="T7"/>
                </a:cxn>
              </a:cxnLst>
              <a:rect l="0" t="0" r="r" b="b"/>
              <a:pathLst>
                <a:path w="85" h="42">
                  <a:moveTo>
                    <a:pt x="42" y="0"/>
                  </a:moveTo>
                  <a:cubicBezTo>
                    <a:pt x="19" y="0"/>
                    <a:pt x="0" y="19"/>
                    <a:pt x="0" y="42"/>
                  </a:cubicBezTo>
                  <a:cubicBezTo>
                    <a:pt x="85" y="42"/>
                    <a:pt x="85" y="42"/>
                    <a:pt x="85" y="42"/>
                  </a:cubicBezTo>
                  <a:cubicBezTo>
                    <a:pt x="85" y="19"/>
                    <a:pt x="66" y="0"/>
                    <a:pt x="42" y="0"/>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sz="1836"/>
            </a:p>
          </p:txBody>
        </p:sp>
        <p:sp>
          <p:nvSpPr>
            <p:cNvPr id="87" name="Oval 16">
              <a:extLst>
                <a:ext uri="{FF2B5EF4-FFF2-40B4-BE49-F238E27FC236}">
                  <a16:creationId xmlns:a16="http://schemas.microsoft.com/office/drawing/2014/main" id="{B3805757-7835-43E7-ABE9-752A251AFFE6}"/>
                </a:ext>
              </a:extLst>
            </p:cNvPr>
            <p:cNvSpPr>
              <a:spLocks noChangeArrowheads="1"/>
            </p:cNvSpPr>
            <p:nvPr/>
          </p:nvSpPr>
          <p:spPr bwMode="auto">
            <a:xfrm>
              <a:off x="-1621517" y="3509282"/>
              <a:ext cx="41275" cy="41275"/>
            </a:xfrm>
            <a:prstGeom prst="ellipse">
              <a:avLst/>
            </a:prstGeom>
            <a:grpFill/>
            <a:ln>
              <a:noFill/>
            </a:ln>
          </p:spPr>
          <p:txBody>
            <a:bodyPr vert="horz" wrap="square" lIns="91427" tIns="45713" rIns="91427" bIns="45713" numCol="1" anchor="t" anchorCtr="0" compatLnSpc="1">
              <a:prstTxWarp prst="textNoShape">
                <a:avLst/>
              </a:prstTxWarp>
            </a:bodyPr>
            <a:lstStyle/>
            <a:p>
              <a:endParaRPr lang="en-US" sz="1836"/>
            </a:p>
          </p:txBody>
        </p:sp>
        <p:sp>
          <p:nvSpPr>
            <p:cNvPr id="89" name="Freeform 17">
              <a:extLst>
                <a:ext uri="{FF2B5EF4-FFF2-40B4-BE49-F238E27FC236}">
                  <a16:creationId xmlns:a16="http://schemas.microsoft.com/office/drawing/2014/main" id="{92A46D31-6E8C-4CE7-9B63-A5DC67EEE4F3}"/>
                </a:ext>
              </a:extLst>
            </p:cNvPr>
            <p:cNvSpPr>
              <a:spLocks/>
            </p:cNvSpPr>
            <p:nvPr/>
          </p:nvSpPr>
          <p:spPr bwMode="auto">
            <a:xfrm>
              <a:off x="-1642155" y="3561670"/>
              <a:ext cx="80963" cy="39688"/>
            </a:xfrm>
            <a:custGeom>
              <a:avLst/>
              <a:gdLst>
                <a:gd name="T0" fmla="*/ 42 w 85"/>
                <a:gd name="T1" fmla="*/ 0 h 42"/>
                <a:gd name="T2" fmla="*/ 0 w 85"/>
                <a:gd name="T3" fmla="*/ 42 h 42"/>
                <a:gd name="T4" fmla="*/ 85 w 85"/>
                <a:gd name="T5" fmla="*/ 42 h 42"/>
                <a:gd name="T6" fmla="*/ 42 w 85"/>
                <a:gd name="T7" fmla="*/ 0 h 42"/>
              </a:gdLst>
              <a:ahLst/>
              <a:cxnLst>
                <a:cxn ang="0">
                  <a:pos x="T0" y="T1"/>
                </a:cxn>
                <a:cxn ang="0">
                  <a:pos x="T2" y="T3"/>
                </a:cxn>
                <a:cxn ang="0">
                  <a:pos x="T4" y="T5"/>
                </a:cxn>
                <a:cxn ang="0">
                  <a:pos x="T6" y="T7"/>
                </a:cxn>
              </a:cxnLst>
              <a:rect l="0" t="0" r="r" b="b"/>
              <a:pathLst>
                <a:path w="85" h="42">
                  <a:moveTo>
                    <a:pt x="42" y="0"/>
                  </a:moveTo>
                  <a:cubicBezTo>
                    <a:pt x="19" y="0"/>
                    <a:pt x="0" y="19"/>
                    <a:pt x="0" y="42"/>
                  </a:cubicBezTo>
                  <a:cubicBezTo>
                    <a:pt x="85" y="42"/>
                    <a:pt x="85" y="42"/>
                    <a:pt x="85" y="42"/>
                  </a:cubicBezTo>
                  <a:cubicBezTo>
                    <a:pt x="85" y="19"/>
                    <a:pt x="66" y="0"/>
                    <a:pt x="42" y="0"/>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sz="1836"/>
            </a:p>
          </p:txBody>
        </p:sp>
        <p:sp>
          <p:nvSpPr>
            <p:cNvPr id="90" name="Freeform 18">
              <a:extLst>
                <a:ext uri="{FF2B5EF4-FFF2-40B4-BE49-F238E27FC236}">
                  <a16:creationId xmlns:a16="http://schemas.microsoft.com/office/drawing/2014/main" id="{82D232F4-6714-46A4-A668-DB2152314CE4}"/>
                </a:ext>
              </a:extLst>
            </p:cNvPr>
            <p:cNvSpPr>
              <a:spLocks/>
            </p:cNvSpPr>
            <p:nvPr/>
          </p:nvSpPr>
          <p:spPr bwMode="auto">
            <a:xfrm>
              <a:off x="-1529442" y="3458482"/>
              <a:ext cx="101600" cy="153988"/>
            </a:xfrm>
            <a:custGeom>
              <a:avLst/>
              <a:gdLst>
                <a:gd name="T0" fmla="*/ 64 w 64"/>
                <a:gd name="T1" fmla="*/ 45 h 97"/>
                <a:gd name="T2" fmla="*/ 32 w 64"/>
                <a:gd name="T3" fmla="*/ 0 h 97"/>
                <a:gd name="T4" fmla="*/ 0 w 64"/>
                <a:gd name="T5" fmla="*/ 45 h 97"/>
                <a:gd name="T6" fmla="*/ 26 w 64"/>
                <a:gd name="T7" fmla="*/ 45 h 97"/>
                <a:gd name="T8" fmla="*/ 26 w 64"/>
                <a:gd name="T9" fmla="*/ 97 h 97"/>
                <a:gd name="T10" fmla="*/ 38 w 64"/>
                <a:gd name="T11" fmla="*/ 97 h 97"/>
                <a:gd name="T12" fmla="*/ 38 w 64"/>
                <a:gd name="T13" fmla="*/ 45 h 97"/>
                <a:gd name="T14" fmla="*/ 64 w 64"/>
                <a:gd name="T15" fmla="*/ 45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97">
                  <a:moveTo>
                    <a:pt x="64" y="45"/>
                  </a:moveTo>
                  <a:lnTo>
                    <a:pt x="32" y="0"/>
                  </a:lnTo>
                  <a:lnTo>
                    <a:pt x="0" y="45"/>
                  </a:lnTo>
                  <a:lnTo>
                    <a:pt x="26" y="45"/>
                  </a:lnTo>
                  <a:lnTo>
                    <a:pt x="26" y="97"/>
                  </a:lnTo>
                  <a:lnTo>
                    <a:pt x="38" y="97"/>
                  </a:lnTo>
                  <a:lnTo>
                    <a:pt x="38" y="45"/>
                  </a:lnTo>
                  <a:lnTo>
                    <a:pt x="64" y="45"/>
                  </a:lnTo>
                  <a:close/>
                </a:path>
              </a:pathLst>
            </a:custGeom>
            <a:grpFill/>
            <a:ln>
              <a:noFill/>
            </a:ln>
          </p:spPr>
          <p:txBody>
            <a:bodyPr vert="horz" wrap="square" lIns="91427" tIns="45713" rIns="91427" bIns="45713" numCol="1" anchor="t" anchorCtr="0" compatLnSpc="1">
              <a:prstTxWarp prst="textNoShape">
                <a:avLst/>
              </a:prstTxWarp>
            </a:bodyPr>
            <a:lstStyle/>
            <a:p>
              <a:endParaRPr lang="en-US" sz="1836"/>
            </a:p>
          </p:txBody>
        </p:sp>
      </p:grpSp>
      <p:grpSp>
        <p:nvGrpSpPr>
          <p:cNvPr id="261" name="Group 260">
            <a:extLst>
              <a:ext uri="{FF2B5EF4-FFF2-40B4-BE49-F238E27FC236}">
                <a16:creationId xmlns:a16="http://schemas.microsoft.com/office/drawing/2014/main" id="{2D09E7D6-D557-4313-971A-BA3ABDF26BA8}"/>
              </a:ext>
            </a:extLst>
          </p:cNvPr>
          <p:cNvGrpSpPr/>
          <p:nvPr/>
        </p:nvGrpSpPr>
        <p:grpSpPr>
          <a:xfrm>
            <a:off x="9893911" y="850544"/>
            <a:ext cx="470179" cy="470179"/>
            <a:chOff x="-2312988" y="3033713"/>
            <a:chExt cx="323850" cy="323850"/>
          </a:xfrm>
          <a:solidFill>
            <a:schemeClr val="accent2"/>
          </a:solidFill>
        </p:grpSpPr>
        <p:sp>
          <p:nvSpPr>
            <p:cNvPr id="258" name="Freeform 22">
              <a:extLst>
                <a:ext uri="{FF2B5EF4-FFF2-40B4-BE49-F238E27FC236}">
                  <a16:creationId xmlns:a16="http://schemas.microsoft.com/office/drawing/2014/main" id="{F91F4251-8959-402F-A3C2-1A38A1EE50A3}"/>
                </a:ext>
              </a:extLst>
            </p:cNvPr>
            <p:cNvSpPr>
              <a:spLocks/>
            </p:cNvSpPr>
            <p:nvPr/>
          </p:nvSpPr>
          <p:spPr bwMode="auto">
            <a:xfrm>
              <a:off x="-2141538" y="3033713"/>
              <a:ext cx="152400" cy="152400"/>
            </a:xfrm>
            <a:custGeom>
              <a:avLst/>
              <a:gdLst>
                <a:gd name="T0" fmla="*/ 147 w 160"/>
                <a:gd name="T1" fmla="*/ 64 h 160"/>
                <a:gd name="T2" fmla="*/ 138 w 160"/>
                <a:gd name="T3" fmla="*/ 44 h 160"/>
                <a:gd name="T4" fmla="*/ 145 w 160"/>
                <a:gd name="T5" fmla="*/ 31 h 160"/>
                <a:gd name="T6" fmla="*/ 128 w 160"/>
                <a:gd name="T7" fmla="*/ 15 h 160"/>
                <a:gd name="T8" fmla="*/ 116 w 160"/>
                <a:gd name="T9" fmla="*/ 21 h 160"/>
                <a:gd name="T10" fmla="*/ 96 w 160"/>
                <a:gd name="T11" fmla="*/ 13 h 160"/>
                <a:gd name="T12" fmla="*/ 91 w 160"/>
                <a:gd name="T13" fmla="*/ 0 h 160"/>
                <a:gd name="T14" fmla="*/ 69 w 160"/>
                <a:gd name="T15" fmla="*/ 0 h 160"/>
                <a:gd name="T16" fmla="*/ 64 w 160"/>
                <a:gd name="T17" fmla="*/ 13 h 160"/>
                <a:gd name="T18" fmla="*/ 44 w 160"/>
                <a:gd name="T19" fmla="*/ 21 h 160"/>
                <a:gd name="T20" fmla="*/ 32 w 160"/>
                <a:gd name="T21" fmla="*/ 15 h 160"/>
                <a:gd name="T22" fmla="*/ 15 w 160"/>
                <a:gd name="T23" fmla="*/ 31 h 160"/>
                <a:gd name="T24" fmla="*/ 22 w 160"/>
                <a:gd name="T25" fmla="*/ 44 h 160"/>
                <a:gd name="T26" fmla="*/ 13 w 160"/>
                <a:gd name="T27" fmla="*/ 64 h 160"/>
                <a:gd name="T28" fmla="*/ 0 w 160"/>
                <a:gd name="T29" fmla="*/ 68 h 160"/>
                <a:gd name="T30" fmla="*/ 0 w 160"/>
                <a:gd name="T31" fmla="*/ 91 h 160"/>
                <a:gd name="T32" fmla="*/ 13 w 160"/>
                <a:gd name="T33" fmla="*/ 96 h 160"/>
                <a:gd name="T34" fmla="*/ 22 w 160"/>
                <a:gd name="T35" fmla="*/ 116 h 160"/>
                <a:gd name="T36" fmla="*/ 15 w 160"/>
                <a:gd name="T37" fmla="*/ 128 h 160"/>
                <a:gd name="T38" fmla="*/ 32 w 160"/>
                <a:gd name="T39" fmla="*/ 144 h 160"/>
                <a:gd name="T40" fmla="*/ 44 w 160"/>
                <a:gd name="T41" fmla="*/ 138 h 160"/>
                <a:gd name="T42" fmla="*/ 64 w 160"/>
                <a:gd name="T43" fmla="*/ 146 h 160"/>
                <a:gd name="T44" fmla="*/ 69 w 160"/>
                <a:gd name="T45" fmla="*/ 160 h 160"/>
                <a:gd name="T46" fmla="*/ 91 w 160"/>
                <a:gd name="T47" fmla="*/ 160 h 160"/>
                <a:gd name="T48" fmla="*/ 96 w 160"/>
                <a:gd name="T49" fmla="*/ 146 h 160"/>
                <a:gd name="T50" fmla="*/ 116 w 160"/>
                <a:gd name="T51" fmla="*/ 138 h 160"/>
                <a:gd name="T52" fmla="*/ 128 w 160"/>
                <a:gd name="T53" fmla="*/ 144 h 160"/>
                <a:gd name="T54" fmla="*/ 145 w 160"/>
                <a:gd name="T55" fmla="*/ 128 h 160"/>
                <a:gd name="T56" fmla="*/ 138 w 160"/>
                <a:gd name="T57" fmla="*/ 116 h 160"/>
                <a:gd name="T58" fmla="*/ 147 w 160"/>
                <a:gd name="T59" fmla="*/ 96 h 160"/>
                <a:gd name="T60" fmla="*/ 160 w 160"/>
                <a:gd name="T61" fmla="*/ 91 h 160"/>
                <a:gd name="T62" fmla="*/ 160 w 160"/>
                <a:gd name="T63" fmla="*/ 68 h 160"/>
                <a:gd name="T64" fmla="*/ 147 w 160"/>
                <a:gd name="T65" fmla="*/ 6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147" y="64"/>
                  </a:moveTo>
                  <a:cubicBezTo>
                    <a:pt x="145" y="57"/>
                    <a:pt x="142" y="50"/>
                    <a:pt x="138" y="44"/>
                  </a:cubicBezTo>
                  <a:cubicBezTo>
                    <a:pt x="145" y="31"/>
                    <a:pt x="145" y="31"/>
                    <a:pt x="145" y="31"/>
                  </a:cubicBezTo>
                  <a:cubicBezTo>
                    <a:pt x="128" y="15"/>
                    <a:pt x="128" y="15"/>
                    <a:pt x="128" y="15"/>
                  </a:cubicBezTo>
                  <a:cubicBezTo>
                    <a:pt x="116" y="21"/>
                    <a:pt x="116" y="21"/>
                    <a:pt x="116" y="21"/>
                  </a:cubicBezTo>
                  <a:cubicBezTo>
                    <a:pt x="110" y="18"/>
                    <a:pt x="103" y="15"/>
                    <a:pt x="96" y="13"/>
                  </a:cubicBezTo>
                  <a:cubicBezTo>
                    <a:pt x="91" y="0"/>
                    <a:pt x="91" y="0"/>
                    <a:pt x="91" y="0"/>
                  </a:cubicBezTo>
                  <a:cubicBezTo>
                    <a:pt x="69" y="0"/>
                    <a:pt x="69" y="0"/>
                    <a:pt x="69" y="0"/>
                  </a:cubicBezTo>
                  <a:cubicBezTo>
                    <a:pt x="64" y="13"/>
                    <a:pt x="64" y="13"/>
                    <a:pt x="64" y="13"/>
                  </a:cubicBezTo>
                  <a:cubicBezTo>
                    <a:pt x="57" y="15"/>
                    <a:pt x="50" y="18"/>
                    <a:pt x="44" y="21"/>
                  </a:cubicBezTo>
                  <a:cubicBezTo>
                    <a:pt x="32" y="15"/>
                    <a:pt x="32" y="15"/>
                    <a:pt x="32" y="15"/>
                  </a:cubicBezTo>
                  <a:cubicBezTo>
                    <a:pt x="15" y="31"/>
                    <a:pt x="15" y="31"/>
                    <a:pt x="15" y="31"/>
                  </a:cubicBezTo>
                  <a:cubicBezTo>
                    <a:pt x="22" y="44"/>
                    <a:pt x="22" y="44"/>
                    <a:pt x="22" y="44"/>
                  </a:cubicBezTo>
                  <a:cubicBezTo>
                    <a:pt x="18" y="50"/>
                    <a:pt x="15" y="57"/>
                    <a:pt x="13" y="64"/>
                  </a:cubicBezTo>
                  <a:cubicBezTo>
                    <a:pt x="0" y="68"/>
                    <a:pt x="0" y="68"/>
                    <a:pt x="0" y="68"/>
                  </a:cubicBezTo>
                  <a:cubicBezTo>
                    <a:pt x="0" y="91"/>
                    <a:pt x="0" y="91"/>
                    <a:pt x="0" y="91"/>
                  </a:cubicBezTo>
                  <a:cubicBezTo>
                    <a:pt x="13" y="96"/>
                    <a:pt x="13" y="96"/>
                    <a:pt x="13" y="96"/>
                  </a:cubicBezTo>
                  <a:cubicBezTo>
                    <a:pt x="15" y="103"/>
                    <a:pt x="18" y="109"/>
                    <a:pt x="22" y="116"/>
                  </a:cubicBezTo>
                  <a:cubicBezTo>
                    <a:pt x="15" y="128"/>
                    <a:pt x="15" y="128"/>
                    <a:pt x="15" y="128"/>
                  </a:cubicBezTo>
                  <a:cubicBezTo>
                    <a:pt x="32" y="144"/>
                    <a:pt x="32" y="144"/>
                    <a:pt x="32" y="144"/>
                  </a:cubicBezTo>
                  <a:cubicBezTo>
                    <a:pt x="44" y="138"/>
                    <a:pt x="44" y="138"/>
                    <a:pt x="44" y="138"/>
                  </a:cubicBezTo>
                  <a:cubicBezTo>
                    <a:pt x="50" y="142"/>
                    <a:pt x="57" y="145"/>
                    <a:pt x="64" y="146"/>
                  </a:cubicBezTo>
                  <a:cubicBezTo>
                    <a:pt x="69" y="160"/>
                    <a:pt x="69" y="160"/>
                    <a:pt x="69" y="160"/>
                  </a:cubicBezTo>
                  <a:cubicBezTo>
                    <a:pt x="91" y="160"/>
                    <a:pt x="91" y="160"/>
                    <a:pt x="91" y="160"/>
                  </a:cubicBezTo>
                  <a:cubicBezTo>
                    <a:pt x="96" y="146"/>
                    <a:pt x="96" y="146"/>
                    <a:pt x="96" y="146"/>
                  </a:cubicBezTo>
                  <a:cubicBezTo>
                    <a:pt x="103" y="145"/>
                    <a:pt x="110" y="142"/>
                    <a:pt x="116" y="138"/>
                  </a:cubicBezTo>
                  <a:cubicBezTo>
                    <a:pt x="128" y="144"/>
                    <a:pt x="128" y="144"/>
                    <a:pt x="128" y="144"/>
                  </a:cubicBezTo>
                  <a:cubicBezTo>
                    <a:pt x="145" y="128"/>
                    <a:pt x="145" y="128"/>
                    <a:pt x="145" y="128"/>
                  </a:cubicBezTo>
                  <a:cubicBezTo>
                    <a:pt x="138" y="116"/>
                    <a:pt x="138" y="116"/>
                    <a:pt x="138" y="116"/>
                  </a:cubicBezTo>
                  <a:cubicBezTo>
                    <a:pt x="142" y="109"/>
                    <a:pt x="145" y="103"/>
                    <a:pt x="147" y="96"/>
                  </a:cubicBezTo>
                  <a:cubicBezTo>
                    <a:pt x="160" y="91"/>
                    <a:pt x="160" y="91"/>
                    <a:pt x="160" y="91"/>
                  </a:cubicBezTo>
                  <a:cubicBezTo>
                    <a:pt x="160" y="68"/>
                    <a:pt x="160" y="68"/>
                    <a:pt x="160" y="68"/>
                  </a:cubicBezTo>
                  <a:lnTo>
                    <a:pt x="147" y="64"/>
                  </a:lnTo>
                  <a:close/>
                </a:path>
              </a:pathLst>
            </a:custGeom>
            <a:grpFill/>
            <a:ln>
              <a:noFill/>
            </a:ln>
          </p:spPr>
          <p:txBody>
            <a:bodyPr vert="horz" wrap="square" lIns="91427" tIns="45713" rIns="91427" bIns="45713" numCol="1" anchor="t" anchorCtr="0" compatLnSpc="1">
              <a:prstTxWarp prst="textNoShape">
                <a:avLst/>
              </a:prstTxWarp>
            </a:bodyPr>
            <a:lstStyle/>
            <a:p>
              <a:endParaRPr lang="en-US" sz="1836"/>
            </a:p>
          </p:txBody>
        </p:sp>
        <p:sp>
          <p:nvSpPr>
            <p:cNvPr id="259" name="Freeform 23">
              <a:extLst>
                <a:ext uri="{FF2B5EF4-FFF2-40B4-BE49-F238E27FC236}">
                  <a16:creationId xmlns:a16="http://schemas.microsoft.com/office/drawing/2014/main" id="{E1A1EC13-754D-4C62-A570-9961A7F57DCE}"/>
                </a:ext>
              </a:extLst>
            </p:cNvPr>
            <p:cNvSpPr>
              <a:spLocks/>
            </p:cNvSpPr>
            <p:nvPr/>
          </p:nvSpPr>
          <p:spPr bwMode="auto">
            <a:xfrm>
              <a:off x="-2098676" y="3081338"/>
              <a:ext cx="66675" cy="55563"/>
            </a:xfrm>
            <a:custGeom>
              <a:avLst/>
              <a:gdLst>
                <a:gd name="T0" fmla="*/ 42 w 42"/>
                <a:gd name="T1" fmla="*/ 10 h 35"/>
                <a:gd name="T2" fmla="*/ 33 w 42"/>
                <a:gd name="T3" fmla="*/ 0 h 35"/>
                <a:gd name="T4" fmla="*/ 16 w 42"/>
                <a:gd name="T5" fmla="*/ 16 h 35"/>
                <a:gd name="T6" fmla="*/ 10 w 42"/>
                <a:gd name="T7" fmla="*/ 10 h 35"/>
                <a:gd name="T8" fmla="*/ 0 w 42"/>
                <a:gd name="T9" fmla="*/ 19 h 35"/>
                <a:gd name="T10" fmla="*/ 16 w 42"/>
                <a:gd name="T11" fmla="*/ 35 h 35"/>
                <a:gd name="T12" fmla="*/ 16 w 42"/>
                <a:gd name="T13" fmla="*/ 35 h 35"/>
                <a:gd name="T14" fmla="*/ 16 w 42"/>
                <a:gd name="T15" fmla="*/ 35 h 35"/>
                <a:gd name="T16" fmla="*/ 42 w 42"/>
                <a:gd name="T17"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5">
                  <a:moveTo>
                    <a:pt x="42" y="10"/>
                  </a:moveTo>
                  <a:lnTo>
                    <a:pt x="33" y="0"/>
                  </a:lnTo>
                  <a:lnTo>
                    <a:pt x="16" y="16"/>
                  </a:lnTo>
                  <a:lnTo>
                    <a:pt x="10" y="10"/>
                  </a:lnTo>
                  <a:lnTo>
                    <a:pt x="0" y="19"/>
                  </a:lnTo>
                  <a:lnTo>
                    <a:pt x="16" y="35"/>
                  </a:lnTo>
                  <a:lnTo>
                    <a:pt x="16" y="35"/>
                  </a:lnTo>
                  <a:lnTo>
                    <a:pt x="16" y="35"/>
                  </a:lnTo>
                  <a:lnTo>
                    <a:pt x="42" y="10"/>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endParaRPr lang="en-US" sz="1836"/>
            </a:p>
          </p:txBody>
        </p:sp>
        <p:sp>
          <p:nvSpPr>
            <p:cNvPr id="260" name="Freeform 24">
              <a:extLst>
                <a:ext uri="{FF2B5EF4-FFF2-40B4-BE49-F238E27FC236}">
                  <a16:creationId xmlns:a16="http://schemas.microsoft.com/office/drawing/2014/main" id="{831EDA75-D819-4C46-A41D-4EBA44623D69}"/>
                </a:ext>
              </a:extLst>
            </p:cNvPr>
            <p:cNvSpPr>
              <a:spLocks noEditPoints="1"/>
            </p:cNvSpPr>
            <p:nvPr/>
          </p:nvSpPr>
          <p:spPr bwMode="auto">
            <a:xfrm>
              <a:off x="-2312988" y="3154363"/>
              <a:ext cx="203200" cy="203200"/>
            </a:xfrm>
            <a:custGeom>
              <a:avLst/>
              <a:gdLst>
                <a:gd name="T0" fmla="*/ 194 w 214"/>
                <a:gd name="T1" fmla="*/ 124 h 214"/>
                <a:gd name="T2" fmla="*/ 194 w 214"/>
                <a:gd name="T3" fmla="*/ 89 h 214"/>
                <a:gd name="T4" fmla="*/ 214 w 214"/>
                <a:gd name="T5" fmla="*/ 74 h 214"/>
                <a:gd name="T6" fmla="*/ 205 w 214"/>
                <a:gd name="T7" fmla="*/ 54 h 214"/>
                <a:gd name="T8" fmla="*/ 181 w 214"/>
                <a:gd name="T9" fmla="*/ 57 h 214"/>
                <a:gd name="T10" fmla="*/ 156 w 214"/>
                <a:gd name="T11" fmla="*/ 33 h 214"/>
                <a:gd name="T12" fmla="*/ 159 w 214"/>
                <a:gd name="T13" fmla="*/ 8 h 214"/>
                <a:gd name="T14" fmla="*/ 139 w 214"/>
                <a:gd name="T15" fmla="*/ 0 h 214"/>
                <a:gd name="T16" fmla="*/ 124 w 214"/>
                <a:gd name="T17" fmla="*/ 20 h 214"/>
                <a:gd name="T18" fmla="*/ 89 w 214"/>
                <a:gd name="T19" fmla="*/ 20 h 214"/>
                <a:gd name="T20" fmla="*/ 74 w 214"/>
                <a:gd name="T21" fmla="*/ 0 h 214"/>
                <a:gd name="T22" fmla="*/ 54 w 214"/>
                <a:gd name="T23" fmla="*/ 8 h 214"/>
                <a:gd name="T24" fmla="*/ 57 w 214"/>
                <a:gd name="T25" fmla="*/ 33 h 214"/>
                <a:gd name="T26" fmla="*/ 33 w 214"/>
                <a:gd name="T27" fmla="*/ 58 h 214"/>
                <a:gd name="T28" fmla="*/ 8 w 214"/>
                <a:gd name="T29" fmla="*/ 54 h 214"/>
                <a:gd name="T30" fmla="*/ 0 w 214"/>
                <a:gd name="T31" fmla="*/ 75 h 214"/>
                <a:gd name="T32" fmla="*/ 20 w 214"/>
                <a:gd name="T33" fmla="*/ 89 h 214"/>
                <a:gd name="T34" fmla="*/ 20 w 214"/>
                <a:gd name="T35" fmla="*/ 125 h 214"/>
                <a:gd name="T36" fmla="*/ 0 w 214"/>
                <a:gd name="T37" fmla="*/ 139 h 214"/>
                <a:gd name="T38" fmla="*/ 8 w 214"/>
                <a:gd name="T39" fmla="*/ 160 h 214"/>
                <a:gd name="T40" fmla="*/ 33 w 214"/>
                <a:gd name="T41" fmla="*/ 156 h 214"/>
                <a:gd name="T42" fmla="*/ 58 w 214"/>
                <a:gd name="T43" fmla="*/ 181 h 214"/>
                <a:gd name="T44" fmla="*/ 54 w 214"/>
                <a:gd name="T45" fmla="*/ 206 h 214"/>
                <a:gd name="T46" fmla="*/ 75 w 214"/>
                <a:gd name="T47" fmla="*/ 214 h 214"/>
                <a:gd name="T48" fmla="*/ 89 w 214"/>
                <a:gd name="T49" fmla="*/ 194 h 214"/>
                <a:gd name="T50" fmla="*/ 125 w 214"/>
                <a:gd name="T51" fmla="*/ 194 h 214"/>
                <a:gd name="T52" fmla="*/ 139 w 214"/>
                <a:gd name="T53" fmla="*/ 214 h 214"/>
                <a:gd name="T54" fmla="*/ 160 w 214"/>
                <a:gd name="T55" fmla="*/ 205 h 214"/>
                <a:gd name="T56" fmla="*/ 156 w 214"/>
                <a:gd name="T57" fmla="*/ 181 h 214"/>
                <a:gd name="T58" fmla="*/ 181 w 214"/>
                <a:gd name="T59" fmla="*/ 156 h 214"/>
                <a:gd name="T60" fmla="*/ 205 w 214"/>
                <a:gd name="T61" fmla="*/ 160 h 214"/>
                <a:gd name="T62" fmla="*/ 214 w 214"/>
                <a:gd name="T63" fmla="*/ 139 h 214"/>
                <a:gd name="T64" fmla="*/ 194 w 214"/>
                <a:gd name="T65" fmla="*/ 124 h 214"/>
                <a:gd name="T66" fmla="*/ 86 w 214"/>
                <a:gd name="T67" fmla="*/ 158 h 214"/>
                <a:gd name="T68" fmla="*/ 55 w 214"/>
                <a:gd name="T69" fmla="*/ 86 h 214"/>
                <a:gd name="T70" fmla="*/ 128 w 214"/>
                <a:gd name="T71" fmla="*/ 55 h 214"/>
                <a:gd name="T72" fmla="*/ 158 w 214"/>
                <a:gd name="T73" fmla="*/ 128 h 214"/>
                <a:gd name="T74" fmla="*/ 86 w 214"/>
                <a:gd name="T75" fmla="*/ 15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4" h="214">
                  <a:moveTo>
                    <a:pt x="194" y="124"/>
                  </a:moveTo>
                  <a:cubicBezTo>
                    <a:pt x="196" y="112"/>
                    <a:pt x="196" y="100"/>
                    <a:pt x="194" y="89"/>
                  </a:cubicBezTo>
                  <a:cubicBezTo>
                    <a:pt x="214" y="74"/>
                    <a:pt x="214" y="74"/>
                    <a:pt x="214" y="74"/>
                  </a:cubicBezTo>
                  <a:cubicBezTo>
                    <a:pt x="205" y="54"/>
                    <a:pt x="205" y="54"/>
                    <a:pt x="205" y="54"/>
                  </a:cubicBezTo>
                  <a:cubicBezTo>
                    <a:pt x="181" y="57"/>
                    <a:pt x="181" y="57"/>
                    <a:pt x="181" y="57"/>
                  </a:cubicBezTo>
                  <a:cubicBezTo>
                    <a:pt x="174" y="48"/>
                    <a:pt x="166" y="39"/>
                    <a:pt x="156" y="33"/>
                  </a:cubicBezTo>
                  <a:cubicBezTo>
                    <a:pt x="159" y="8"/>
                    <a:pt x="159" y="8"/>
                    <a:pt x="159" y="8"/>
                  </a:cubicBezTo>
                  <a:cubicBezTo>
                    <a:pt x="139" y="0"/>
                    <a:pt x="139" y="0"/>
                    <a:pt x="139" y="0"/>
                  </a:cubicBezTo>
                  <a:cubicBezTo>
                    <a:pt x="124" y="20"/>
                    <a:pt x="124" y="20"/>
                    <a:pt x="124" y="20"/>
                  </a:cubicBezTo>
                  <a:cubicBezTo>
                    <a:pt x="112" y="17"/>
                    <a:pt x="100" y="17"/>
                    <a:pt x="89" y="20"/>
                  </a:cubicBezTo>
                  <a:cubicBezTo>
                    <a:pt x="74" y="0"/>
                    <a:pt x="74" y="0"/>
                    <a:pt x="74" y="0"/>
                  </a:cubicBezTo>
                  <a:cubicBezTo>
                    <a:pt x="54" y="8"/>
                    <a:pt x="54" y="8"/>
                    <a:pt x="54" y="8"/>
                  </a:cubicBezTo>
                  <a:cubicBezTo>
                    <a:pt x="57" y="33"/>
                    <a:pt x="57" y="33"/>
                    <a:pt x="57" y="33"/>
                  </a:cubicBezTo>
                  <a:cubicBezTo>
                    <a:pt x="48" y="39"/>
                    <a:pt x="39" y="48"/>
                    <a:pt x="33" y="58"/>
                  </a:cubicBezTo>
                  <a:cubicBezTo>
                    <a:pt x="8" y="54"/>
                    <a:pt x="8" y="54"/>
                    <a:pt x="8" y="54"/>
                  </a:cubicBezTo>
                  <a:cubicBezTo>
                    <a:pt x="0" y="75"/>
                    <a:pt x="0" y="75"/>
                    <a:pt x="0" y="75"/>
                  </a:cubicBezTo>
                  <a:cubicBezTo>
                    <a:pt x="20" y="89"/>
                    <a:pt x="20" y="89"/>
                    <a:pt x="20" y="89"/>
                  </a:cubicBezTo>
                  <a:cubicBezTo>
                    <a:pt x="17" y="101"/>
                    <a:pt x="17" y="113"/>
                    <a:pt x="20" y="125"/>
                  </a:cubicBezTo>
                  <a:cubicBezTo>
                    <a:pt x="0" y="139"/>
                    <a:pt x="0" y="139"/>
                    <a:pt x="0" y="139"/>
                  </a:cubicBezTo>
                  <a:cubicBezTo>
                    <a:pt x="8" y="160"/>
                    <a:pt x="8" y="160"/>
                    <a:pt x="8" y="160"/>
                  </a:cubicBezTo>
                  <a:cubicBezTo>
                    <a:pt x="33" y="156"/>
                    <a:pt x="33" y="156"/>
                    <a:pt x="33" y="156"/>
                  </a:cubicBezTo>
                  <a:cubicBezTo>
                    <a:pt x="39" y="166"/>
                    <a:pt x="48" y="174"/>
                    <a:pt x="58" y="181"/>
                  </a:cubicBezTo>
                  <a:cubicBezTo>
                    <a:pt x="54" y="206"/>
                    <a:pt x="54" y="206"/>
                    <a:pt x="54" y="206"/>
                  </a:cubicBezTo>
                  <a:cubicBezTo>
                    <a:pt x="75" y="214"/>
                    <a:pt x="75" y="214"/>
                    <a:pt x="75" y="214"/>
                  </a:cubicBezTo>
                  <a:cubicBezTo>
                    <a:pt x="89" y="194"/>
                    <a:pt x="89" y="194"/>
                    <a:pt x="89" y="194"/>
                  </a:cubicBezTo>
                  <a:cubicBezTo>
                    <a:pt x="101" y="197"/>
                    <a:pt x="113" y="196"/>
                    <a:pt x="125" y="194"/>
                  </a:cubicBezTo>
                  <a:cubicBezTo>
                    <a:pt x="139" y="214"/>
                    <a:pt x="139" y="214"/>
                    <a:pt x="139" y="214"/>
                  </a:cubicBezTo>
                  <a:cubicBezTo>
                    <a:pt x="160" y="205"/>
                    <a:pt x="160" y="205"/>
                    <a:pt x="160" y="205"/>
                  </a:cubicBezTo>
                  <a:cubicBezTo>
                    <a:pt x="156" y="181"/>
                    <a:pt x="156" y="181"/>
                    <a:pt x="156" y="181"/>
                  </a:cubicBezTo>
                  <a:cubicBezTo>
                    <a:pt x="166" y="174"/>
                    <a:pt x="174" y="166"/>
                    <a:pt x="181" y="156"/>
                  </a:cubicBezTo>
                  <a:cubicBezTo>
                    <a:pt x="205" y="160"/>
                    <a:pt x="205" y="160"/>
                    <a:pt x="205" y="160"/>
                  </a:cubicBezTo>
                  <a:cubicBezTo>
                    <a:pt x="214" y="139"/>
                    <a:pt x="214" y="139"/>
                    <a:pt x="214" y="139"/>
                  </a:cubicBezTo>
                  <a:lnTo>
                    <a:pt x="194" y="124"/>
                  </a:lnTo>
                  <a:close/>
                  <a:moveTo>
                    <a:pt x="86" y="158"/>
                  </a:moveTo>
                  <a:cubicBezTo>
                    <a:pt x="57" y="147"/>
                    <a:pt x="44" y="114"/>
                    <a:pt x="55" y="86"/>
                  </a:cubicBezTo>
                  <a:cubicBezTo>
                    <a:pt x="67" y="57"/>
                    <a:pt x="100" y="44"/>
                    <a:pt x="128" y="55"/>
                  </a:cubicBezTo>
                  <a:cubicBezTo>
                    <a:pt x="156" y="67"/>
                    <a:pt x="170" y="100"/>
                    <a:pt x="158" y="128"/>
                  </a:cubicBezTo>
                  <a:cubicBezTo>
                    <a:pt x="147" y="156"/>
                    <a:pt x="114" y="170"/>
                    <a:pt x="86" y="158"/>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sz="1836"/>
            </a:p>
          </p:txBody>
        </p:sp>
      </p:grpSp>
      <p:grpSp>
        <p:nvGrpSpPr>
          <p:cNvPr id="269" name="Group 268">
            <a:extLst>
              <a:ext uri="{FF2B5EF4-FFF2-40B4-BE49-F238E27FC236}">
                <a16:creationId xmlns:a16="http://schemas.microsoft.com/office/drawing/2014/main" id="{CB3A001E-33EB-4C1D-B8E2-30FB18208C2C}"/>
              </a:ext>
            </a:extLst>
          </p:cNvPr>
          <p:cNvGrpSpPr/>
          <p:nvPr/>
        </p:nvGrpSpPr>
        <p:grpSpPr>
          <a:xfrm>
            <a:off x="1374220" y="850544"/>
            <a:ext cx="472223" cy="470179"/>
            <a:chOff x="-2155608" y="2956886"/>
            <a:chExt cx="589029" cy="586480"/>
          </a:xfrm>
          <a:solidFill>
            <a:schemeClr val="accent2"/>
          </a:solidFill>
        </p:grpSpPr>
        <p:sp>
          <p:nvSpPr>
            <p:cNvPr id="265" name="Freeform: Shape 264">
              <a:extLst>
                <a:ext uri="{FF2B5EF4-FFF2-40B4-BE49-F238E27FC236}">
                  <a16:creationId xmlns:a16="http://schemas.microsoft.com/office/drawing/2014/main" id="{A666305F-EB6E-4FB2-AC59-603AB775BD18}"/>
                </a:ext>
              </a:extLst>
            </p:cNvPr>
            <p:cNvSpPr/>
            <p:nvPr/>
          </p:nvSpPr>
          <p:spPr>
            <a:xfrm>
              <a:off x="-2155608" y="2956886"/>
              <a:ext cx="200025" cy="333375"/>
            </a:xfrm>
            <a:custGeom>
              <a:avLst/>
              <a:gdLst>
                <a:gd name="connsiteX0" fmla="*/ 96060 w 200025"/>
                <a:gd name="connsiteY0" fmla="*/ 677 h 333375"/>
                <a:gd name="connsiteX1" fmla="*/ 95054 w 200025"/>
                <a:gd name="connsiteY1" fmla="*/ 953 h 333375"/>
                <a:gd name="connsiteX2" fmla="*/ 94055 w 200025"/>
                <a:gd name="connsiteY2" fmla="*/ 1282 h 333375"/>
                <a:gd name="connsiteX3" fmla="*/ 91952 w 200025"/>
                <a:gd name="connsiteY3" fmla="*/ 1840 h 333375"/>
                <a:gd name="connsiteX4" fmla="*/ 89895 w 200025"/>
                <a:gd name="connsiteY4" fmla="*/ 2550 h 333375"/>
                <a:gd name="connsiteX5" fmla="*/ 88890 w 200025"/>
                <a:gd name="connsiteY5" fmla="*/ 3063 h 333375"/>
                <a:gd name="connsiteX6" fmla="*/ 87917 w 200025"/>
                <a:gd name="connsiteY6" fmla="*/ 3602 h 333375"/>
                <a:gd name="connsiteX7" fmla="*/ 86044 w 200025"/>
                <a:gd name="connsiteY7" fmla="*/ 4535 h 333375"/>
                <a:gd name="connsiteX8" fmla="*/ 84217 w 200025"/>
                <a:gd name="connsiteY8" fmla="*/ 5613 h 333375"/>
                <a:gd name="connsiteX9" fmla="*/ 83336 w 200025"/>
                <a:gd name="connsiteY9" fmla="*/ 6303 h 333375"/>
                <a:gd name="connsiteX10" fmla="*/ 82488 w 200025"/>
                <a:gd name="connsiteY10" fmla="*/ 7032 h 333375"/>
                <a:gd name="connsiteX11" fmla="*/ 80845 w 200025"/>
                <a:gd name="connsiteY11" fmla="*/ 8268 h 333375"/>
                <a:gd name="connsiteX12" fmla="*/ 79281 w 200025"/>
                <a:gd name="connsiteY12" fmla="*/ 9635 h 333375"/>
                <a:gd name="connsiteX13" fmla="*/ 78920 w 200025"/>
                <a:gd name="connsiteY13" fmla="*/ 10062 h 333375"/>
                <a:gd name="connsiteX14" fmla="*/ 78591 w 200025"/>
                <a:gd name="connsiteY14" fmla="*/ 10470 h 333375"/>
                <a:gd name="connsiteX15" fmla="*/ 44106 w 200025"/>
                <a:gd name="connsiteY15" fmla="*/ 44954 h 333375"/>
                <a:gd name="connsiteX16" fmla="*/ 9622 w 200025"/>
                <a:gd name="connsiteY16" fmla="*/ 79445 h 333375"/>
                <a:gd name="connsiteX17" fmla="*/ 0 w 200025"/>
                <a:gd name="connsiteY17" fmla="*/ 102659 h 333375"/>
                <a:gd name="connsiteX18" fmla="*/ 9628 w 200025"/>
                <a:gd name="connsiteY18" fmla="*/ 125911 h 333375"/>
                <a:gd name="connsiteX19" fmla="*/ 32874 w 200025"/>
                <a:gd name="connsiteY19" fmla="*/ 135526 h 333375"/>
                <a:gd name="connsiteX20" fmla="*/ 56074 w 200025"/>
                <a:gd name="connsiteY20" fmla="*/ 125918 h 333375"/>
                <a:gd name="connsiteX21" fmla="*/ 62877 w 200025"/>
                <a:gd name="connsiteY21" fmla="*/ 119109 h 333375"/>
                <a:gd name="connsiteX22" fmla="*/ 69679 w 200025"/>
                <a:gd name="connsiteY22" fmla="*/ 112307 h 333375"/>
                <a:gd name="connsiteX23" fmla="*/ 69679 w 200025"/>
                <a:gd name="connsiteY23" fmla="*/ 207650 h 333375"/>
                <a:gd name="connsiteX24" fmla="*/ 69679 w 200025"/>
                <a:gd name="connsiteY24" fmla="*/ 302994 h 333375"/>
                <a:gd name="connsiteX25" fmla="*/ 79314 w 200025"/>
                <a:gd name="connsiteY25" fmla="*/ 326227 h 333375"/>
                <a:gd name="connsiteX26" fmla="*/ 102547 w 200025"/>
                <a:gd name="connsiteY26" fmla="*/ 335842 h 333375"/>
                <a:gd name="connsiteX27" fmla="*/ 125780 w 200025"/>
                <a:gd name="connsiteY27" fmla="*/ 326227 h 333375"/>
                <a:gd name="connsiteX28" fmla="*/ 135408 w 200025"/>
                <a:gd name="connsiteY28" fmla="*/ 302994 h 333375"/>
                <a:gd name="connsiteX29" fmla="*/ 135415 w 200025"/>
                <a:gd name="connsiteY29" fmla="*/ 207624 h 333375"/>
                <a:gd name="connsiteX30" fmla="*/ 135421 w 200025"/>
                <a:gd name="connsiteY30" fmla="*/ 112254 h 333375"/>
                <a:gd name="connsiteX31" fmla="*/ 142197 w 200025"/>
                <a:gd name="connsiteY31" fmla="*/ 119030 h 333375"/>
                <a:gd name="connsiteX32" fmla="*/ 148973 w 200025"/>
                <a:gd name="connsiteY32" fmla="*/ 125806 h 333375"/>
                <a:gd name="connsiteX33" fmla="*/ 172200 w 200025"/>
                <a:gd name="connsiteY33" fmla="*/ 135448 h 333375"/>
                <a:gd name="connsiteX34" fmla="*/ 195452 w 200025"/>
                <a:gd name="connsiteY34" fmla="*/ 125819 h 333375"/>
                <a:gd name="connsiteX35" fmla="*/ 205061 w 200025"/>
                <a:gd name="connsiteY35" fmla="*/ 102586 h 333375"/>
                <a:gd name="connsiteX36" fmla="*/ 195452 w 200025"/>
                <a:gd name="connsiteY36" fmla="*/ 79366 h 333375"/>
                <a:gd name="connsiteX37" fmla="*/ 160724 w 200025"/>
                <a:gd name="connsiteY37" fmla="*/ 44639 h 333375"/>
                <a:gd name="connsiteX38" fmla="*/ 125997 w 200025"/>
                <a:gd name="connsiteY38" fmla="*/ 9911 h 333375"/>
                <a:gd name="connsiteX39" fmla="*/ 123433 w 200025"/>
                <a:gd name="connsiteY39" fmla="*/ 7552 h 333375"/>
                <a:gd name="connsiteX40" fmla="*/ 120653 w 200025"/>
                <a:gd name="connsiteY40" fmla="*/ 5462 h 333375"/>
                <a:gd name="connsiteX41" fmla="*/ 120167 w 200025"/>
                <a:gd name="connsiteY41" fmla="*/ 5225 h 333375"/>
                <a:gd name="connsiteX42" fmla="*/ 119674 w 200025"/>
                <a:gd name="connsiteY42" fmla="*/ 4962 h 333375"/>
                <a:gd name="connsiteX43" fmla="*/ 117394 w 200025"/>
                <a:gd name="connsiteY43" fmla="*/ 3634 h 333375"/>
                <a:gd name="connsiteX44" fmla="*/ 114988 w 200025"/>
                <a:gd name="connsiteY44" fmla="*/ 2504 h 333375"/>
                <a:gd name="connsiteX45" fmla="*/ 113845 w 200025"/>
                <a:gd name="connsiteY45" fmla="*/ 2123 h 333375"/>
                <a:gd name="connsiteX46" fmla="*/ 112675 w 200025"/>
                <a:gd name="connsiteY46" fmla="*/ 1788 h 333375"/>
                <a:gd name="connsiteX47" fmla="*/ 110802 w 200025"/>
                <a:gd name="connsiteY47" fmla="*/ 1157 h 333375"/>
                <a:gd name="connsiteX48" fmla="*/ 108882 w 200025"/>
                <a:gd name="connsiteY48" fmla="*/ 651 h 333375"/>
                <a:gd name="connsiteX49" fmla="*/ 106096 w 200025"/>
                <a:gd name="connsiteY49" fmla="*/ 250 h 333375"/>
                <a:gd name="connsiteX50" fmla="*/ 103276 w 200025"/>
                <a:gd name="connsiteY50" fmla="*/ 85 h 333375"/>
                <a:gd name="connsiteX51" fmla="*/ 102908 w 200025"/>
                <a:gd name="connsiteY51" fmla="*/ 53 h 333375"/>
                <a:gd name="connsiteX52" fmla="*/ 102534 w 200025"/>
                <a:gd name="connsiteY52" fmla="*/ 0 h 333375"/>
                <a:gd name="connsiteX53" fmla="*/ 102527 w 200025"/>
                <a:gd name="connsiteY53" fmla="*/ 7 h 333375"/>
                <a:gd name="connsiteX54" fmla="*/ 102521 w 200025"/>
                <a:gd name="connsiteY54" fmla="*/ 13 h 333375"/>
                <a:gd name="connsiteX55" fmla="*/ 99280 w 200025"/>
                <a:gd name="connsiteY55" fmla="*/ 184 h 333375"/>
                <a:gd name="connsiteX56" fmla="*/ 96060 w 200025"/>
                <a:gd name="connsiteY56" fmla="*/ 677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00025" h="333375">
                  <a:moveTo>
                    <a:pt x="96060" y="677"/>
                  </a:moveTo>
                  <a:cubicBezTo>
                    <a:pt x="95718" y="743"/>
                    <a:pt x="95383" y="841"/>
                    <a:pt x="95054" y="953"/>
                  </a:cubicBezTo>
                  <a:cubicBezTo>
                    <a:pt x="94726" y="1065"/>
                    <a:pt x="94391" y="1183"/>
                    <a:pt x="94055" y="1282"/>
                  </a:cubicBezTo>
                  <a:cubicBezTo>
                    <a:pt x="93352" y="1466"/>
                    <a:pt x="92649" y="1636"/>
                    <a:pt x="91952" y="1840"/>
                  </a:cubicBezTo>
                  <a:cubicBezTo>
                    <a:pt x="91256" y="2037"/>
                    <a:pt x="90572" y="2261"/>
                    <a:pt x="89895" y="2550"/>
                  </a:cubicBezTo>
                  <a:cubicBezTo>
                    <a:pt x="89540" y="2701"/>
                    <a:pt x="89212" y="2879"/>
                    <a:pt x="88890" y="3063"/>
                  </a:cubicBezTo>
                  <a:cubicBezTo>
                    <a:pt x="88568" y="3240"/>
                    <a:pt x="88252" y="3431"/>
                    <a:pt x="87917" y="3602"/>
                  </a:cubicBezTo>
                  <a:cubicBezTo>
                    <a:pt x="87286" y="3910"/>
                    <a:pt x="86662" y="4213"/>
                    <a:pt x="86044" y="4535"/>
                  </a:cubicBezTo>
                  <a:cubicBezTo>
                    <a:pt x="85426" y="4857"/>
                    <a:pt x="84815" y="5205"/>
                    <a:pt x="84217" y="5613"/>
                  </a:cubicBezTo>
                  <a:cubicBezTo>
                    <a:pt x="83901" y="5816"/>
                    <a:pt x="83619" y="6060"/>
                    <a:pt x="83336" y="6303"/>
                  </a:cubicBezTo>
                  <a:cubicBezTo>
                    <a:pt x="83060" y="6553"/>
                    <a:pt x="82784" y="6809"/>
                    <a:pt x="82488" y="7032"/>
                  </a:cubicBezTo>
                  <a:cubicBezTo>
                    <a:pt x="81943" y="7440"/>
                    <a:pt x="81384" y="7841"/>
                    <a:pt x="80845" y="8268"/>
                  </a:cubicBezTo>
                  <a:cubicBezTo>
                    <a:pt x="80306" y="8689"/>
                    <a:pt x="79774" y="9142"/>
                    <a:pt x="79281" y="9635"/>
                  </a:cubicBezTo>
                  <a:cubicBezTo>
                    <a:pt x="79143" y="9773"/>
                    <a:pt x="79031" y="9918"/>
                    <a:pt x="78920" y="10062"/>
                  </a:cubicBezTo>
                  <a:cubicBezTo>
                    <a:pt x="78808" y="10207"/>
                    <a:pt x="78703" y="10345"/>
                    <a:pt x="78591" y="10470"/>
                  </a:cubicBezTo>
                  <a:lnTo>
                    <a:pt x="44106" y="44954"/>
                  </a:lnTo>
                  <a:lnTo>
                    <a:pt x="9622" y="79445"/>
                  </a:lnTo>
                  <a:cubicBezTo>
                    <a:pt x="3207" y="85847"/>
                    <a:pt x="0" y="94253"/>
                    <a:pt x="0" y="102659"/>
                  </a:cubicBezTo>
                  <a:cubicBezTo>
                    <a:pt x="0" y="111064"/>
                    <a:pt x="3214" y="119484"/>
                    <a:pt x="9628" y="125911"/>
                  </a:cubicBezTo>
                  <a:cubicBezTo>
                    <a:pt x="16049" y="132326"/>
                    <a:pt x="24462" y="135526"/>
                    <a:pt x="32874" y="135526"/>
                  </a:cubicBezTo>
                  <a:cubicBezTo>
                    <a:pt x="41280" y="135526"/>
                    <a:pt x="49686" y="132326"/>
                    <a:pt x="56074" y="125918"/>
                  </a:cubicBezTo>
                  <a:lnTo>
                    <a:pt x="62877" y="119109"/>
                  </a:lnTo>
                  <a:lnTo>
                    <a:pt x="69679" y="112307"/>
                  </a:lnTo>
                  <a:lnTo>
                    <a:pt x="69679" y="207650"/>
                  </a:lnTo>
                  <a:lnTo>
                    <a:pt x="69679" y="302994"/>
                  </a:lnTo>
                  <a:cubicBezTo>
                    <a:pt x="69686" y="312064"/>
                    <a:pt x="73366" y="320279"/>
                    <a:pt x="79314" y="326227"/>
                  </a:cubicBezTo>
                  <a:cubicBezTo>
                    <a:pt x="85262" y="332168"/>
                    <a:pt x="93471" y="335849"/>
                    <a:pt x="102547" y="335842"/>
                  </a:cubicBezTo>
                  <a:cubicBezTo>
                    <a:pt x="111617" y="335849"/>
                    <a:pt x="119832" y="332168"/>
                    <a:pt x="125780" y="326227"/>
                  </a:cubicBezTo>
                  <a:cubicBezTo>
                    <a:pt x="131728" y="320279"/>
                    <a:pt x="135408" y="312064"/>
                    <a:pt x="135408" y="302994"/>
                  </a:cubicBezTo>
                  <a:lnTo>
                    <a:pt x="135415" y="207624"/>
                  </a:lnTo>
                  <a:lnTo>
                    <a:pt x="135421" y="112254"/>
                  </a:lnTo>
                  <a:lnTo>
                    <a:pt x="142197" y="119030"/>
                  </a:lnTo>
                  <a:lnTo>
                    <a:pt x="148973" y="125806"/>
                  </a:lnTo>
                  <a:cubicBezTo>
                    <a:pt x="155388" y="132240"/>
                    <a:pt x="163787" y="135448"/>
                    <a:pt x="172200" y="135448"/>
                  </a:cubicBezTo>
                  <a:cubicBezTo>
                    <a:pt x="180612" y="135448"/>
                    <a:pt x="189025" y="132234"/>
                    <a:pt x="195452" y="125819"/>
                  </a:cubicBezTo>
                  <a:cubicBezTo>
                    <a:pt x="201860" y="119398"/>
                    <a:pt x="205061" y="110992"/>
                    <a:pt x="205061" y="102586"/>
                  </a:cubicBezTo>
                  <a:cubicBezTo>
                    <a:pt x="205061" y="94180"/>
                    <a:pt x="201860" y="85774"/>
                    <a:pt x="195452" y="79366"/>
                  </a:cubicBezTo>
                  <a:lnTo>
                    <a:pt x="160724" y="44639"/>
                  </a:lnTo>
                  <a:lnTo>
                    <a:pt x="125997" y="9911"/>
                  </a:lnTo>
                  <a:cubicBezTo>
                    <a:pt x="125182" y="9083"/>
                    <a:pt x="124327" y="8288"/>
                    <a:pt x="123433" y="7552"/>
                  </a:cubicBezTo>
                  <a:cubicBezTo>
                    <a:pt x="122540" y="6809"/>
                    <a:pt x="121613" y="6106"/>
                    <a:pt x="120653" y="5462"/>
                  </a:cubicBezTo>
                  <a:cubicBezTo>
                    <a:pt x="120489" y="5370"/>
                    <a:pt x="120331" y="5297"/>
                    <a:pt x="120167" y="5225"/>
                  </a:cubicBezTo>
                  <a:cubicBezTo>
                    <a:pt x="120009" y="5146"/>
                    <a:pt x="119845" y="5067"/>
                    <a:pt x="119674" y="4962"/>
                  </a:cubicBezTo>
                  <a:cubicBezTo>
                    <a:pt x="118931" y="4502"/>
                    <a:pt x="118176" y="4055"/>
                    <a:pt x="117394" y="3634"/>
                  </a:cubicBezTo>
                  <a:cubicBezTo>
                    <a:pt x="116611" y="3214"/>
                    <a:pt x="115816" y="2833"/>
                    <a:pt x="114988" y="2504"/>
                  </a:cubicBezTo>
                  <a:cubicBezTo>
                    <a:pt x="114613" y="2353"/>
                    <a:pt x="114232" y="2235"/>
                    <a:pt x="113845" y="2123"/>
                  </a:cubicBezTo>
                  <a:cubicBezTo>
                    <a:pt x="113457" y="2011"/>
                    <a:pt x="113062" y="1913"/>
                    <a:pt x="112675" y="1788"/>
                  </a:cubicBezTo>
                  <a:cubicBezTo>
                    <a:pt x="112050" y="1577"/>
                    <a:pt x="111433" y="1360"/>
                    <a:pt x="110802" y="1157"/>
                  </a:cubicBezTo>
                  <a:cubicBezTo>
                    <a:pt x="110171" y="953"/>
                    <a:pt x="109540" y="782"/>
                    <a:pt x="108882" y="651"/>
                  </a:cubicBezTo>
                  <a:cubicBezTo>
                    <a:pt x="107956" y="467"/>
                    <a:pt x="107029" y="342"/>
                    <a:pt x="106096" y="250"/>
                  </a:cubicBezTo>
                  <a:cubicBezTo>
                    <a:pt x="105156" y="158"/>
                    <a:pt x="104216" y="112"/>
                    <a:pt x="103276" y="85"/>
                  </a:cubicBezTo>
                  <a:cubicBezTo>
                    <a:pt x="103145" y="85"/>
                    <a:pt x="103027" y="72"/>
                    <a:pt x="102908" y="53"/>
                  </a:cubicBezTo>
                  <a:cubicBezTo>
                    <a:pt x="102790" y="33"/>
                    <a:pt x="102678" y="13"/>
                    <a:pt x="102534" y="0"/>
                  </a:cubicBezTo>
                  <a:lnTo>
                    <a:pt x="102527" y="7"/>
                  </a:lnTo>
                  <a:lnTo>
                    <a:pt x="102521" y="13"/>
                  </a:lnTo>
                  <a:cubicBezTo>
                    <a:pt x="101443" y="13"/>
                    <a:pt x="100358" y="72"/>
                    <a:pt x="99280" y="184"/>
                  </a:cubicBezTo>
                  <a:cubicBezTo>
                    <a:pt x="98203" y="296"/>
                    <a:pt x="97125" y="460"/>
                    <a:pt x="96060" y="677"/>
                  </a:cubicBezTo>
                  <a:close/>
                </a:path>
              </a:pathLst>
            </a:custGeom>
            <a:grpFill/>
            <a:ln w="6572" cap="flat">
              <a:noFill/>
              <a:prstDash val="solid"/>
              <a:miter/>
            </a:ln>
          </p:spPr>
          <p:txBody>
            <a:bodyPr rtlCol="0" anchor="ctr"/>
            <a:lstStyle/>
            <a:p>
              <a:endParaRPr lang="en-US" sz="1836"/>
            </a:p>
          </p:txBody>
        </p:sp>
        <p:sp>
          <p:nvSpPr>
            <p:cNvPr id="266" name="Freeform: Shape 265">
              <a:extLst>
                <a:ext uri="{FF2B5EF4-FFF2-40B4-BE49-F238E27FC236}">
                  <a16:creationId xmlns:a16="http://schemas.microsoft.com/office/drawing/2014/main" id="{6EB40971-94B0-4910-8DF0-DABE456D138E}"/>
                </a:ext>
              </a:extLst>
            </p:cNvPr>
            <p:cNvSpPr/>
            <p:nvPr/>
          </p:nvSpPr>
          <p:spPr>
            <a:xfrm>
              <a:off x="-1899954" y="3343341"/>
              <a:ext cx="333375" cy="200025"/>
            </a:xfrm>
            <a:custGeom>
              <a:avLst/>
              <a:gdLst>
                <a:gd name="connsiteX0" fmla="*/ 335165 w 333375"/>
                <a:gd name="connsiteY0" fmla="*/ 96040 h 200025"/>
                <a:gd name="connsiteX1" fmla="*/ 334896 w 333375"/>
                <a:gd name="connsiteY1" fmla="*/ 95035 h 200025"/>
                <a:gd name="connsiteX2" fmla="*/ 334560 w 333375"/>
                <a:gd name="connsiteY2" fmla="*/ 94036 h 200025"/>
                <a:gd name="connsiteX3" fmla="*/ 334008 w 333375"/>
                <a:gd name="connsiteY3" fmla="*/ 91939 h 200025"/>
                <a:gd name="connsiteX4" fmla="*/ 333292 w 333375"/>
                <a:gd name="connsiteY4" fmla="*/ 89882 h 200025"/>
                <a:gd name="connsiteX5" fmla="*/ 332779 w 333375"/>
                <a:gd name="connsiteY5" fmla="*/ 88877 h 200025"/>
                <a:gd name="connsiteX6" fmla="*/ 332240 w 333375"/>
                <a:gd name="connsiteY6" fmla="*/ 87910 h 200025"/>
                <a:gd name="connsiteX7" fmla="*/ 331314 w 333375"/>
                <a:gd name="connsiteY7" fmla="*/ 86044 h 200025"/>
                <a:gd name="connsiteX8" fmla="*/ 330236 w 333375"/>
                <a:gd name="connsiteY8" fmla="*/ 84217 h 200025"/>
                <a:gd name="connsiteX9" fmla="*/ 329546 w 333375"/>
                <a:gd name="connsiteY9" fmla="*/ 83336 h 200025"/>
                <a:gd name="connsiteX10" fmla="*/ 328816 w 333375"/>
                <a:gd name="connsiteY10" fmla="*/ 82482 h 200025"/>
                <a:gd name="connsiteX11" fmla="*/ 327581 w 333375"/>
                <a:gd name="connsiteY11" fmla="*/ 80832 h 200025"/>
                <a:gd name="connsiteX12" fmla="*/ 326207 w 333375"/>
                <a:gd name="connsiteY12" fmla="*/ 79274 h 200025"/>
                <a:gd name="connsiteX13" fmla="*/ 325786 w 333375"/>
                <a:gd name="connsiteY13" fmla="*/ 78913 h 200025"/>
                <a:gd name="connsiteX14" fmla="*/ 325379 w 333375"/>
                <a:gd name="connsiteY14" fmla="*/ 78584 h 200025"/>
                <a:gd name="connsiteX15" fmla="*/ 290894 w 333375"/>
                <a:gd name="connsiteY15" fmla="*/ 44106 h 200025"/>
                <a:gd name="connsiteX16" fmla="*/ 256410 w 333375"/>
                <a:gd name="connsiteY16" fmla="*/ 9622 h 200025"/>
                <a:gd name="connsiteX17" fmla="*/ 233190 w 333375"/>
                <a:gd name="connsiteY17" fmla="*/ 0 h 200025"/>
                <a:gd name="connsiteX18" fmla="*/ 209937 w 333375"/>
                <a:gd name="connsiteY18" fmla="*/ 9628 h 200025"/>
                <a:gd name="connsiteX19" fmla="*/ 200322 w 333375"/>
                <a:gd name="connsiteY19" fmla="*/ 32874 h 200025"/>
                <a:gd name="connsiteX20" fmla="*/ 209931 w 333375"/>
                <a:gd name="connsiteY20" fmla="*/ 56074 h 200025"/>
                <a:gd name="connsiteX21" fmla="*/ 216740 w 333375"/>
                <a:gd name="connsiteY21" fmla="*/ 62870 h 200025"/>
                <a:gd name="connsiteX22" fmla="*/ 223542 w 333375"/>
                <a:gd name="connsiteY22" fmla="*/ 69672 h 200025"/>
                <a:gd name="connsiteX23" fmla="*/ 128192 w 333375"/>
                <a:gd name="connsiteY23" fmla="*/ 69672 h 200025"/>
                <a:gd name="connsiteX24" fmla="*/ 32848 w 333375"/>
                <a:gd name="connsiteY24" fmla="*/ 69672 h 200025"/>
                <a:gd name="connsiteX25" fmla="*/ 9615 w 333375"/>
                <a:gd name="connsiteY25" fmla="*/ 79307 h 200025"/>
                <a:gd name="connsiteX26" fmla="*/ 0 w 333375"/>
                <a:gd name="connsiteY26" fmla="*/ 102540 h 200025"/>
                <a:gd name="connsiteX27" fmla="*/ 9615 w 333375"/>
                <a:gd name="connsiteY27" fmla="*/ 125773 h 200025"/>
                <a:gd name="connsiteX28" fmla="*/ 32848 w 333375"/>
                <a:gd name="connsiteY28" fmla="*/ 135402 h 200025"/>
                <a:gd name="connsiteX29" fmla="*/ 128218 w 333375"/>
                <a:gd name="connsiteY29" fmla="*/ 135408 h 200025"/>
                <a:gd name="connsiteX30" fmla="*/ 223595 w 333375"/>
                <a:gd name="connsiteY30" fmla="*/ 135415 h 200025"/>
                <a:gd name="connsiteX31" fmla="*/ 216819 w 333375"/>
                <a:gd name="connsiteY31" fmla="*/ 142191 h 200025"/>
                <a:gd name="connsiteX32" fmla="*/ 210043 w 333375"/>
                <a:gd name="connsiteY32" fmla="*/ 148967 h 200025"/>
                <a:gd name="connsiteX33" fmla="*/ 200401 w 333375"/>
                <a:gd name="connsiteY33" fmla="*/ 172193 h 200025"/>
                <a:gd name="connsiteX34" fmla="*/ 210029 w 333375"/>
                <a:gd name="connsiteY34" fmla="*/ 195446 h 200025"/>
                <a:gd name="connsiteX35" fmla="*/ 233262 w 333375"/>
                <a:gd name="connsiteY35" fmla="*/ 205048 h 200025"/>
                <a:gd name="connsiteX36" fmla="*/ 256482 w 333375"/>
                <a:gd name="connsiteY36" fmla="*/ 195439 h 200025"/>
                <a:gd name="connsiteX37" fmla="*/ 291210 w 333375"/>
                <a:gd name="connsiteY37" fmla="*/ 160711 h 200025"/>
                <a:gd name="connsiteX38" fmla="*/ 325938 w 333375"/>
                <a:gd name="connsiteY38" fmla="*/ 125983 h 200025"/>
                <a:gd name="connsiteX39" fmla="*/ 328297 w 333375"/>
                <a:gd name="connsiteY39" fmla="*/ 123420 h 200025"/>
                <a:gd name="connsiteX40" fmla="*/ 330387 w 333375"/>
                <a:gd name="connsiteY40" fmla="*/ 120640 h 200025"/>
                <a:gd name="connsiteX41" fmla="*/ 330630 w 333375"/>
                <a:gd name="connsiteY41" fmla="*/ 120160 h 200025"/>
                <a:gd name="connsiteX42" fmla="*/ 330887 w 333375"/>
                <a:gd name="connsiteY42" fmla="*/ 119668 h 200025"/>
                <a:gd name="connsiteX43" fmla="*/ 332208 w 333375"/>
                <a:gd name="connsiteY43" fmla="*/ 117387 h 200025"/>
                <a:gd name="connsiteX44" fmla="*/ 333338 w 333375"/>
                <a:gd name="connsiteY44" fmla="*/ 114982 h 200025"/>
                <a:gd name="connsiteX45" fmla="*/ 333726 w 333375"/>
                <a:gd name="connsiteY45" fmla="*/ 113838 h 200025"/>
                <a:gd name="connsiteX46" fmla="*/ 334061 w 333375"/>
                <a:gd name="connsiteY46" fmla="*/ 112668 h 200025"/>
                <a:gd name="connsiteX47" fmla="*/ 334692 w 333375"/>
                <a:gd name="connsiteY47" fmla="*/ 110802 h 200025"/>
                <a:gd name="connsiteX48" fmla="*/ 335191 w 333375"/>
                <a:gd name="connsiteY48" fmla="*/ 108882 h 200025"/>
                <a:gd name="connsiteX49" fmla="*/ 335592 w 333375"/>
                <a:gd name="connsiteY49" fmla="*/ 106089 h 200025"/>
                <a:gd name="connsiteX50" fmla="*/ 335757 w 333375"/>
                <a:gd name="connsiteY50" fmla="*/ 103270 h 200025"/>
                <a:gd name="connsiteX51" fmla="*/ 335796 w 333375"/>
                <a:gd name="connsiteY51" fmla="*/ 102902 h 200025"/>
                <a:gd name="connsiteX52" fmla="*/ 335849 w 333375"/>
                <a:gd name="connsiteY52" fmla="*/ 102507 h 200025"/>
                <a:gd name="connsiteX53" fmla="*/ 335835 w 333375"/>
                <a:gd name="connsiteY53" fmla="*/ 102501 h 200025"/>
                <a:gd name="connsiteX54" fmla="*/ 335822 w 333375"/>
                <a:gd name="connsiteY54" fmla="*/ 102494 h 200025"/>
                <a:gd name="connsiteX55" fmla="*/ 335658 w 333375"/>
                <a:gd name="connsiteY55" fmla="*/ 99254 h 200025"/>
                <a:gd name="connsiteX56" fmla="*/ 335165 w 333375"/>
                <a:gd name="connsiteY56" fmla="*/ 9604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33375" h="200025">
                  <a:moveTo>
                    <a:pt x="335165" y="96040"/>
                  </a:moveTo>
                  <a:cubicBezTo>
                    <a:pt x="335099" y="95692"/>
                    <a:pt x="335001" y="95357"/>
                    <a:pt x="334896" y="95035"/>
                  </a:cubicBezTo>
                  <a:cubicBezTo>
                    <a:pt x="334777" y="94706"/>
                    <a:pt x="334666" y="94371"/>
                    <a:pt x="334560" y="94036"/>
                  </a:cubicBezTo>
                  <a:cubicBezTo>
                    <a:pt x="334383" y="93333"/>
                    <a:pt x="334199" y="92629"/>
                    <a:pt x="334008" y="91939"/>
                  </a:cubicBezTo>
                  <a:cubicBezTo>
                    <a:pt x="333805" y="91243"/>
                    <a:pt x="333588" y="90552"/>
                    <a:pt x="333292" y="89882"/>
                  </a:cubicBezTo>
                  <a:cubicBezTo>
                    <a:pt x="333141" y="89527"/>
                    <a:pt x="332970" y="89199"/>
                    <a:pt x="332779" y="88877"/>
                  </a:cubicBezTo>
                  <a:cubicBezTo>
                    <a:pt x="332602" y="88555"/>
                    <a:pt x="332418" y="88239"/>
                    <a:pt x="332240" y="87910"/>
                  </a:cubicBezTo>
                  <a:cubicBezTo>
                    <a:pt x="331932" y="87280"/>
                    <a:pt x="331636" y="86662"/>
                    <a:pt x="331314" y="86044"/>
                  </a:cubicBezTo>
                  <a:cubicBezTo>
                    <a:pt x="330979" y="85420"/>
                    <a:pt x="330630" y="84808"/>
                    <a:pt x="330236" y="84217"/>
                  </a:cubicBezTo>
                  <a:cubicBezTo>
                    <a:pt x="330032" y="83901"/>
                    <a:pt x="329789" y="83619"/>
                    <a:pt x="329546" y="83336"/>
                  </a:cubicBezTo>
                  <a:cubicBezTo>
                    <a:pt x="329303" y="83054"/>
                    <a:pt x="329046" y="82778"/>
                    <a:pt x="328816" y="82482"/>
                  </a:cubicBezTo>
                  <a:cubicBezTo>
                    <a:pt x="328409" y="81936"/>
                    <a:pt x="328008" y="81378"/>
                    <a:pt x="327581" y="80832"/>
                  </a:cubicBezTo>
                  <a:cubicBezTo>
                    <a:pt x="327160" y="80293"/>
                    <a:pt x="326707" y="79767"/>
                    <a:pt x="326207" y="79274"/>
                  </a:cubicBezTo>
                  <a:cubicBezTo>
                    <a:pt x="326069" y="79136"/>
                    <a:pt x="325924" y="79025"/>
                    <a:pt x="325786" y="78913"/>
                  </a:cubicBezTo>
                  <a:cubicBezTo>
                    <a:pt x="325635" y="78801"/>
                    <a:pt x="325504" y="78703"/>
                    <a:pt x="325379" y="78584"/>
                  </a:cubicBezTo>
                  <a:lnTo>
                    <a:pt x="290894" y="44106"/>
                  </a:lnTo>
                  <a:lnTo>
                    <a:pt x="256410" y="9622"/>
                  </a:lnTo>
                  <a:cubicBezTo>
                    <a:pt x="249995" y="3201"/>
                    <a:pt x="241596" y="0"/>
                    <a:pt x="233190" y="0"/>
                  </a:cubicBezTo>
                  <a:cubicBezTo>
                    <a:pt x="224784" y="0"/>
                    <a:pt x="216365" y="3207"/>
                    <a:pt x="209937" y="9628"/>
                  </a:cubicBezTo>
                  <a:cubicBezTo>
                    <a:pt x="203523" y="16049"/>
                    <a:pt x="200322" y="24469"/>
                    <a:pt x="200322" y="32874"/>
                  </a:cubicBezTo>
                  <a:cubicBezTo>
                    <a:pt x="200322" y="41280"/>
                    <a:pt x="203523" y="49686"/>
                    <a:pt x="209931" y="56074"/>
                  </a:cubicBezTo>
                  <a:lnTo>
                    <a:pt x="216740" y="62870"/>
                  </a:lnTo>
                  <a:lnTo>
                    <a:pt x="223542" y="69672"/>
                  </a:lnTo>
                  <a:lnTo>
                    <a:pt x="128192" y="69672"/>
                  </a:lnTo>
                  <a:lnTo>
                    <a:pt x="32848" y="69672"/>
                  </a:lnTo>
                  <a:cubicBezTo>
                    <a:pt x="23778" y="69686"/>
                    <a:pt x="15563" y="73359"/>
                    <a:pt x="9615" y="79307"/>
                  </a:cubicBezTo>
                  <a:cubicBezTo>
                    <a:pt x="3674" y="85255"/>
                    <a:pt x="-7" y="93464"/>
                    <a:pt x="0" y="102540"/>
                  </a:cubicBezTo>
                  <a:cubicBezTo>
                    <a:pt x="-7" y="111610"/>
                    <a:pt x="3674" y="119825"/>
                    <a:pt x="9615" y="125773"/>
                  </a:cubicBezTo>
                  <a:cubicBezTo>
                    <a:pt x="15563" y="131721"/>
                    <a:pt x="23778" y="135408"/>
                    <a:pt x="32848" y="135402"/>
                  </a:cubicBezTo>
                  <a:lnTo>
                    <a:pt x="128218" y="135408"/>
                  </a:lnTo>
                  <a:lnTo>
                    <a:pt x="223595" y="135415"/>
                  </a:lnTo>
                  <a:lnTo>
                    <a:pt x="216819" y="142191"/>
                  </a:lnTo>
                  <a:lnTo>
                    <a:pt x="210043" y="148967"/>
                  </a:lnTo>
                  <a:cubicBezTo>
                    <a:pt x="203608" y="155381"/>
                    <a:pt x="200401" y="163787"/>
                    <a:pt x="200401" y="172193"/>
                  </a:cubicBezTo>
                  <a:cubicBezTo>
                    <a:pt x="200401" y="180599"/>
                    <a:pt x="203608" y="189024"/>
                    <a:pt x="210029" y="195446"/>
                  </a:cubicBezTo>
                  <a:cubicBezTo>
                    <a:pt x="216444" y="201854"/>
                    <a:pt x="224850" y="205048"/>
                    <a:pt x="233262" y="205048"/>
                  </a:cubicBezTo>
                  <a:cubicBezTo>
                    <a:pt x="241675" y="205048"/>
                    <a:pt x="250081" y="201854"/>
                    <a:pt x="256482" y="195439"/>
                  </a:cubicBezTo>
                  <a:lnTo>
                    <a:pt x="291210" y="160711"/>
                  </a:lnTo>
                  <a:lnTo>
                    <a:pt x="325938" y="125983"/>
                  </a:lnTo>
                  <a:cubicBezTo>
                    <a:pt x="326772" y="125169"/>
                    <a:pt x="327554" y="124314"/>
                    <a:pt x="328297" y="123420"/>
                  </a:cubicBezTo>
                  <a:cubicBezTo>
                    <a:pt x="329040" y="122520"/>
                    <a:pt x="329750" y="121600"/>
                    <a:pt x="330387" y="120640"/>
                  </a:cubicBezTo>
                  <a:cubicBezTo>
                    <a:pt x="330479" y="120483"/>
                    <a:pt x="330551" y="120312"/>
                    <a:pt x="330630" y="120160"/>
                  </a:cubicBezTo>
                  <a:cubicBezTo>
                    <a:pt x="330709" y="119996"/>
                    <a:pt x="330781" y="119832"/>
                    <a:pt x="330887" y="119668"/>
                  </a:cubicBezTo>
                  <a:cubicBezTo>
                    <a:pt x="331347" y="118931"/>
                    <a:pt x="331800" y="118169"/>
                    <a:pt x="332208" y="117387"/>
                  </a:cubicBezTo>
                  <a:cubicBezTo>
                    <a:pt x="332628" y="116605"/>
                    <a:pt x="333016" y="115810"/>
                    <a:pt x="333338" y="114982"/>
                  </a:cubicBezTo>
                  <a:cubicBezTo>
                    <a:pt x="333489" y="114607"/>
                    <a:pt x="333607" y="114232"/>
                    <a:pt x="333726" y="113838"/>
                  </a:cubicBezTo>
                  <a:cubicBezTo>
                    <a:pt x="333831" y="113444"/>
                    <a:pt x="333929" y="113062"/>
                    <a:pt x="334061" y="112668"/>
                  </a:cubicBezTo>
                  <a:cubicBezTo>
                    <a:pt x="334265" y="112044"/>
                    <a:pt x="334482" y="111432"/>
                    <a:pt x="334692" y="110802"/>
                  </a:cubicBezTo>
                  <a:cubicBezTo>
                    <a:pt x="334882" y="110171"/>
                    <a:pt x="335066" y="109533"/>
                    <a:pt x="335191" y="108882"/>
                  </a:cubicBezTo>
                  <a:cubicBezTo>
                    <a:pt x="335369" y="107956"/>
                    <a:pt x="335500" y="107029"/>
                    <a:pt x="335592" y="106089"/>
                  </a:cubicBezTo>
                  <a:cubicBezTo>
                    <a:pt x="335684" y="105149"/>
                    <a:pt x="335730" y="104216"/>
                    <a:pt x="335757" y="103270"/>
                  </a:cubicBezTo>
                  <a:cubicBezTo>
                    <a:pt x="335757" y="103138"/>
                    <a:pt x="335770" y="103020"/>
                    <a:pt x="335796" y="102902"/>
                  </a:cubicBezTo>
                  <a:cubicBezTo>
                    <a:pt x="335809" y="102770"/>
                    <a:pt x="335835" y="102652"/>
                    <a:pt x="335849" y="102507"/>
                  </a:cubicBezTo>
                  <a:lnTo>
                    <a:pt x="335835" y="102501"/>
                  </a:lnTo>
                  <a:lnTo>
                    <a:pt x="335822" y="102494"/>
                  </a:lnTo>
                  <a:cubicBezTo>
                    <a:pt x="335822" y="101416"/>
                    <a:pt x="335770" y="100332"/>
                    <a:pt x="335658" y="99254"/>
                  </a:cubicBezTo>
                  <a:cubicBezTo>
                    <a:pt x="335546" y="98176"/>
                    <a:pt x="335389" y="97105"/>
                    <a:pt x="335165" y="96040"/>
                  </a:cubicBezTo>
                  <a:close/>
                </a:path>
              </a:pathLst>
            </a:custGeom>
            <a:grpFill/>
            <a:ln w="6572" cap="flat">
              <a:noFill/>
              <a:prstDash val="solid"/>
              <a:miter/>
            </a:ln>
          </p:spPr>
          <p:txBody>
            <a:bodyPr rtlCol="0" anchor="ctr"/>
            <a:lstStyle/>
            <a:p>
              <a:endParaRPr lang="en-US" sz="1836"/>
            </a:p>
          </p:txBody>
        </p:sp>
        <p:sp>
          <p:nvSpPr>
            <p:cNvPr id="267" name="Freeform: Shape 266">
              <a:extLst>
                <a:ext uri="{FF2B5EF4-FFF2-40B4-BE49-F238E27FC236}">
                  <a16:creationId xmlns:a16="http://schemas.microsoft.com/office/drawing/2014/main" id="{1CB1B1B7-9A73-44E8-9D93-ECF53CCC225B}"/>
                </a:ext>
              </a:extLst>
            </p:cNvPr>
            <p:cNvSpPr/>
            <p:nvPr/>
          </p:nvSpPr>
          <p:spPr>
            <a:xfrm>
              <a:off x="-1938758" y="2958397"/>
              <a:ext cx="371475" cy="371475"/>
            </a:xfrm>
            <a:custGeom>
              <a:avLst/>
              <a:gdLst>
                <a:gd name="connsiteX0" fmla="*/ 361665 w 371475"/>
                <a:gd name="connsiteY0" fmla="*/ 5567 h 371475"/>
                <a:gd name="connsiteX1" fmla="*/ 359832 w 371475"/>
                <a:gd name="connsiteY1" fmla="*/ 4555 h 371475"/>
                <a:gd name="connsiteX2" fmla="*/ 355993 w 371475"/>
                <a:gd name="connsiteY2" fmla="*/ 2504 h 371475"/>
                <a:gd name="connsiteX3" fmla="*/ 353811 w 371475"/>
                <a:gd name="connsiteY3" fmla="*/ 1847 h 371475"/>
                <a:gd name="connsiteX4" fmla="*/ 349822 w 371475"/>
                <a:gd name="connsiteY4" fmla="*/ 651 h 371475"/>
                <a:gd name="connsiteX5" fmla="*/ 347574 w 371475"/>
                <a:gd name="connsiteY5" fmla="*/ 434 h 371475"/>
                <a:gd name="connsiteX6" fmla="*/ 343480 w 371475"/>
                <a:gd name="connsiteY6" fmla="*/ 0 h 371475"/>
                <a:gd name="connsiteX7" fmla="*/ 342389 w 371475"/>
                <a:gd name="connsiteY7" fmla="*/ 118 h 371475"/>
                <a:gd name="connsiteX8" fmla="*/ 244857 w 371475"/>
                <a:gd name="connsiteY8" fmla="*/ 131 h 371475"/>
                <a:gd name="connsiteX9" fmla="*/ 212008 w 371475"/>
                <a:gd name="connsiteY9" fmla="*/ 32980 h 371475"/>
                <a:gd name="connsiteX10" fmla="*/ 244857 w 371475"/>
                <a:gd name="connsiteY10" fmla="*/ 65828 h 371475"/>
                <a:gd name="connsiteX11" fmla="*/ 264074 w 371475"/>
                <a:gd name="connsiteY11" fmla="*/ 65847 h 371475"/>
                <a:gd name="connsiteX12" fmla="*/ 9629 w 371475"/>
                <a:gd name="connsiteY12" fmla="*/ 320272 h 371475"/>
                <a:gd name="connsiteX13" fmla="*/ 9629 w 371475"/>
                <a:gd name="connsiteY13" fmla="*/ 366738 h 371475"/>
                <a:gd name="connsiteX14" fmla="*/ 56082 w 371475"/>
                <a:gd name="connsiteY14" fmla="*/ 366738 h 371475"/>
                <a:gd name="connsiteX15" fmla="*/ 310605 w 371475"/>
                <a:gd name="connsiteY15" fmla="*/ 112267 h 371475"/>
                <a:gd name="connsiteX16" fmla="*/ 310605 w 371475"/>
                <a:gd name="connsiteY16" fmla="*/ 131458 h 371475"/>
                <a:gd name="connsiteX17" fmla="*/ 343453 w 371475"/>
                <a:gd name="connsiteY17" fmla="*/ 164313 h 371475"/>
                <a:gd name="connsiteX18" fmla="*/ 376302 w 371475"/>
                <a:gd name="connsiteY18" fmla="*/ 131478 h 371475"/>
                <a:gd name="connsiteX19" fmla="*/ 376302 w 371475"/>
                <a:gd name="connsiteY19" fmla="*/ 33262 h 371475"/>
                <a:gd name="connsiteX20" fmla="*/ 375671 w 371475"/>
                <a:gd name="connsiteY20" fmla="*/ 26309 h 371475"/>
                <a:gd name="connsiteX21" fmla="*/ 375349 w 371475"/>
                <a:gd name="connsiteY21" fmla="*/ 25277 h 371475"/>
                <a:gd name="connsiteX22" fmla="*/ 373758 w 371475"/>
                <a:gd name="connsiteY22" fmla="*/ 20243 h 371475"/>
                <a:gd name="connsiteX23" fmla="*/ 372654 w 371475"/>
                <a:gd name="connsiteY23" fmla="*/ 18100 h 371475"/>
                <a:gd name="connsiteX24" fmla="*/ 370768 w 371475"/>
                <a:gd name="connsiteY24" fmla="*/ 14630 h 371475"/>
                <a:gd name="connsiteX25" fmla="*/ 367199 w 371475"/>
                <a:gd name="connsiteY25" fmla="*/ 10240 h 371475"/>
                <a:gd name="connsiteX26" fmla="*/ 366726 w 371475"/>
                <a:gd name="connsiteY26" fmla="*/ 9641 h 371475"/>
                <a:gd name="connsiteX27" fmla="*/ 366686 w 371475"/>
                <a:gd name="connsiteY27" fmla="*/ 9641 h 371475"/>
                <a:gd name="connsiteX28" fmla="*/ 361665 w 371475"/>
                <a:gd name="connsiteY28" fmla="*/ 5567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71475" h="371475">
                  <a:moveTo>
                    <a:pt x="361665" y="5567"/>
                  </a:moveTo>
                  <a:cubicBezTo>
                    <a:pt x="361100" y="5153"/>
                    <a:pt x="360430" y="4896"/>
                    <a:pt x="359832" y="4555"/>
                  </a:cubicBezTo>
                  <a:cubicBezTo>
                    <a:pt x="358589" y="3825"/>
                    <a:pt x="357341" y="3056"/>
                    <a:pt x="355993" y="2504"/>
                  </a:cubicBezTo>
                  <a:cubicBezTo>
                    <a:pt x="355277" y="2221"/>
                    <a:pt x="354554" y="2090"/>
                    <a:pt x="353811" y="1847"/>
                  </a:cubicBezTo>
                  <a:cubicBezTo>
                    <a:pt x="352517" y="1413"/>
                    <a:pt x="351228" y="927"/>
                    <a:pt x="349822" y="651"/>
                  </a:cubicBezTo>
                  <a:cubicBezTo>
                    <a:pt x="349079" y="526"/>
                    <a:pt x="348330" y="526"/>
                    <a:pt x="347574" y="434"/>
                  </a:cubicBezTo>
                  <a:cubicBezTo>
                    <a:pt x="346253" y="243"/>
                    <a:pt x="344880" y="26"/>
                    <a:pt x="343480" y="0"/>
                  </a:cubicBezTo>
                  <a:cubicBezTo>
                    <a:pt x="343092" y="26"/>
                    <a:pt x="342737" y="125"/>
                    <a:pt x="342389" y="118"/>
                  </a:cubicBezTo>
                  <a:lnTo>
                    <a:pt x="244857" y="131"/>
                  </a:lnTo>
                  <a:cubicBezTo>
                    <a:pt x="226704" y="131"/>
                    <a:pt x="212008" y="14834"/>
                    <a:pt x="212008" y="32980"/>
                  </a:cubicBezTo>
                  <a:cubicBezTo>
                    <a:pt x="212022" y="51145"/>
                    <a:pt x="226743" y="65861"/>
                    <a:pt x="244857" y="65828"/>
                  </a:cubicBezTo>
                  <a:lnTo>
                    <a:pt x="264074" y="65847"/>
                  </a:lnTo>
                  <a:lnTo>
                    <a:pt x="9629" y="320272"/>
                  </a:lnTo>
                  <a:cubicBezTo>
                    <a:pt x="-3200" y="333121"/>
                    <a:pt x="-3220" y="353942"/>
                    <a:pt x="9629" y="366738"/>
                  </a:cubicBezTo>
                  <a:cubicBezTo>
                    <a:pt x="22445" y="379574"/>
                    <a:pt x="43259" y="379580"/>
                    <a:pt x="56082" y="366738"/>
                  </a:cubicBezTo>
                  <a:lnTo>
                    <a:pt x="310605" y="112267"/>
                  </a:lnTo>
                  <a:lnTo>
                    <a:pt x="310605" y="131458"/>
                  </a:lnTo>
                  <a:cubicBezTo>
                    <a:pt x="310553" y="149604"/>
                    <a:pt x="325275" y="164306"/>
                    <a:pt x="343453" y="164313"/>
                  </a:cubicBezTo>
                  <a:cubicBezTo>
                    <a:pt x="361606" y="164306"/>
                    <a:pt x="376315" y="149611"/>
                    <a:pt x="376302" y="131478"/>
                  </a:cubicBezTo>
                  <a:lnTo>
                    <a:pt x="376302" y="33262"/>
                  </a:lnTo>
                  <a:cubicBezTo>
                    <a:pt x="376328" y="30922"/>
                    <a:pt x="376150" y="28589"/>
                    <a:pt x="375671" y="26309"/>
                  </a:cubicBezTo>
                  <a:cubicBezTo>
                    <a:pt x="375565" y="25954"/>
                    <a:pt x="375454" y="25658"/>
                    <a:pt x="375349" y="25277"/>
                  </a:cubicBezTo>
                  <a:cubicBezTo>
                    <a:pt x="374941" y="23555"/>
                    <a:pt x="374461" y="21866"/>
                    <a:pt x="373758" y="20243"/>
                  </a:cubicBezTo>
                  <a:cubicBezTo>
                    <a:pt x="373449" y="19487"/>
                    <a:pt x="373002" y="18829"/>
                    <a:pt x="372654" y="18100"/>
                  </a:cubicBezTo>
                  <a:cubicBezTo>
                    <a:pt x="372063" y="16897"/>
                    <a:pt x="371497" y="15708"/>
                    <a:pt x="370768" y="14630"/>
                  </a:cubicBezTo>
                  <a:cubicBezTo>
                    <a:pt x="369703" y="13039"/>
                    <a:pt x="368481" y="11607"/>
                    <a:pt x="367199" y="10240"/>
                  </a:cubicBezTo>
                  <a:cubicBezTo>
                    <a:pt x="367022" y="10069"/>
                    <a:pt x="366903" y="9858"/>
                    <a:pt x="366726" y="9641"/>
                  </a:cubicBezTo>
                  <a:lnTo>
                    <a:pt x="366686" y="9641"/>
                  </a:lnTo>
                  <a:cubicBezTo>
                    <a:pt x="365162" y="8123"/>
                    <a:pt x="363466" y="6769"/>
                    <a:pt x="361665" y="5567"/>
                  </a:cubicBezTo>
                  <a:close/>
                </a:path>
              </a:pathLst>
            </a:custGeom>
            <a:grpFill/>
            <a:ln w="6572" cap="flat">
              <a:noFill/>
              <a:prstDash val="solid"/>
              <a:miter/>
            </a:ln>
          </p:spPr>
          <p:txBody>
            <a:bodyPr rtlCol="0" anchor="ctr"/>
            <a:lstStyle/>
            <a:p>
              <a:endParaRPr lang="en-US" sz="1836"/>
            </a:p>
          </p:txBody>
        </p:sp>
        <p:sp>
          <p:nvSpPr>
            <p:cNvPr id="268" name="Freeform: Shape 267">
              <a:extLst>
                <a:ext uri="{FF2B5EF4-FFF2-40B4-BE49-F238E27FC236}">
                  <a16:creationId xmlns:a16="http://schemas.microsoft.com/office/drawing/2014/main" id="{00B34E36-24C2-4F18-91B5-41C43E06B24F}"/>
                </a:ext>
              </a:extLst>
            </p:cNvPr>
            <p:cNvSpPr/>
            <p:nvPr/>
          </p:nvSpPr>
          <p:spPr>
            <a:xfrm>
              <a:off x="-2153262" y="3349280"/>
              <a:ext cx="190500" cy="190500"/>
            </a:xfrm>
            <a:custGeom>
              <a:avLst/>
              <a:gdLst>
                <a:gd name="connsiteX0" fmla="*/ 197168 w 190500"/>
                <a:gd name="connsiteY0" fmla="*/ 98533 h 190500"/>
                <a:gd name="connsiteX1" fmla="*/ 168302 w 190500"/>
                <a:gd name="connsiteY1" fmla="*/ 168238 h 190500"/>
                <a:gd name="connsiteX2" fmla="*/ 28878 w 190500"/>
                <a:gd name="connsiteY2" fmla="*/ 168245 h 190500"/>
                <a:gd name="connsiteX3" fmla="*/ 0 w 190500"/>
                <a:gd name="connsiteY3" fmla="*/ 98533 h 190500"/>
                <a:gd name="connsiteX4" fmla="*/ 0 w 190500"/>
                <a:gd name="connsiteY4" fmla="*/ 98533 h 190500"/>
                <a:gd name="connsiteX5" fmla="*/ 28885 w 190500"/>
                <a:gd name="connsiteY5" fmla="*/ 28828 h 190500"/>
                <a:gd name="connsiteX6" fmla="*/ 168296 w 190500"/>
                <a:gd name="connsiteY6" fmla="*/ 28834 h 190500"/>
                <a:gd name="connsiteX7" fmla="*/ 197168 w 190500"/>
                <a:gd name="connsiteY7" fmla="*/ 9853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190500">
                  <a:moveTo>
                    <a:pt x="197168" y="98533"/>
                  </a:moveTo>
                  <a:cubicBezTo>
                    <a:pt x="197181" y="124861"/>
                    <a:pt x="186921" y="149619"/>
                    <a:pt x="168302" y="168238"/>
                  </a:cubicBezTo>
                  <a:cubicBezTo>
                    <a:pt x="129848" y="206692"/>
                    <a:pt x="67306" y="206679"/>
                    <a:pt x="28878" y="168245"/>
                  </a:cubicBezTo>
                  <a:cubicBezTo>
                    <a:pt x="10266" y="149619"/>
                    <a:pt x="7" y="124855"/>
                    <a:pt x="0" y="98533"/>
                  </a:cubicBezTo>
                  <a:lnTo>
                    <a:pt x="0" y="98533"/>
                  </a:lnTo>
                  <a:cubicBezTo>
                    <a:pt x="-7" y="72218"/>
                    <a:pt x="10259" y="47453"/>
                    <a:pt x="28885" y="28828"/>
                  </a:cubicBezTo>
                  <a:cubicBezTo>
                    <a:pt x="67326" y="-9614"/>
                    <a:pt x="129855" y="-9607"/>
                    <a:pt x="168296" y="28834"/>
                  </a:cubicBezTo>
                  <a:cubicBezTo>
                    <a:pt x="186915" y="47453"/>
                    <a:pt x="197187" y="72211"/>
                    <a:pt x="197168" y="98533"/>
                  </a:cubicBezTo>
                  <a:close/>
                </a:path>
              </a:pathLst>
            </a:custGeom>
            <a:grpFill/>
            <a:ln w="6572" cap="flat">
              <a:noFill/>
              <a:prstDash val="solid"/>
              <a:miter/>
            </a:ln>
          </p:spPr>
          <p:txBody>
            <a:bodyPr rtlCol="0" anchor="ctr"/>
            <a:lstStyle/>
            <a:p>
              <a:endParaRPr lang="en-US" sz="1836"/>
            </a:p>
          </p:txBody>
        </p:sp>
      </p:grpSp>
      <p:sp>
        <p:nvSpPr>
          <p:cNvPr id="284" name="Star: 5 Points 283">
            <a:extLst>
              <a:ext uri="{FF2B5EF4-FFF2-40B4-BE49-F238E27FC236}">
                <a16:creationId xmlns:a16="http://schemas.microsoft.com/office/drawing/2014/main" id="{A347FA43-1F18-4FDB-AD97-55BDF30E1D5E}"/>
              </a:ext>
            </a:extLst>
          </p:cNvPr>
          <p:cNvSpPr/>
          <p:nvPr/>
        </p:nvSpPr>
        <p:spPr bwMode="auto">
          <a:xfrm>
            <a:off x="9166769" y="2389158"/>
            <a:ext cx="247477" cy="239274"/>
          </a:xfrm>
          <a:prstGeom prst="star5">
            <a:avLst/>
          </a:prstGeom>
          <a:solidFill>
            <a:srgbClr val="FFB900"/>
          </a:solidFill>
        </p:spPr>
        <p:txBody>
          <a:bodyPr wrap="none" lIns="502849" tIns="0" rIns="0" bIns="0" rtlCol="0" anchor="ctr" anchorCtr="0">
            <a:noAutofit/>
          </a:bodyPr>
          <a:lstStyle/>
          <a:p>
            <a:pPr defTabSz="913841"/>
            <a:endParaRPr lang="en-US" sz="1100" kern="0">
              <a:cs typeface="Segoe UI" pitchFamily="34" charset="0"/>
            </a:endParaRPr>
          </a:p>
        </p:txBody>
      </p:sp>
      <p:cxnSp>
        <p:nvCxnSpPr>
          <p:cNvPr id="5" name="Straight Connector 4">
            <a:extLst>
              <a:ext uri="{FF2B5EF4-FFF2-40B4-BE49-F238E27FC236}">
                <a16:creationId xmlns:a16="http://schemas.microsoft.com/office/drawing/2014/main" id="{725DC5C8-2003-4494-95A7-ED6BCCC554BA}"/>
              </a:ext>
            </a:extLst>
          </p:cNvPr>
          <p:cNvCxnSpPr>
            <a:cxnSpLocks/>
          </p:cNvCxnSpPr>
          <p:nvPr/>
        </p:nvCxnSpPr>
        <p:spPr>
          <a:xfrm>
            <a:off x="9261565" y="1071153"/>
            <a:ext cx="98455" cy="5698106"/>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903FD70-B746-446D-A369-1A1410B3C455}"/>
              </a:ext>
            </a:extLst>
          </p:cNvPr>
          <p:cNvCxnSpPr>
            <a:cxnSpLocks/>
          </p:cNvCxnSpPr>
          <p:nvPr/>
        </p:nvCxnSpPr>
        <p:spPr>
          <a:xfrm>
            <a:off x="6695239" y="1939632"/>
            <a:ext cx="0" cy="28617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542A4BAF-CBCF-4C45-B180-21AFF1FE4861}"/>
              </a:ext>
            </a:extLst>
          </p:cNvPr>
          <p:cNvSpPr/>
          <p:nvPr/>
        </p:nvSpPr>
        <p:spPr>
          <a:xfrm>
            <a:off x="6716343" y="1911127"/>
            <a:ext cx="1509748" cy="360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defTabSz="932205">
              <a:defRPr/>
            </a:pPr>
            <a:r>
              <a:rPr lang="en-US" sz="1600" kern="0">
                <a:solidFill>
                  <a:schemeClr val="tx1"/>
                </a:solidFill>
                <a:cs typeface="Segoe UI" pitchFamily="34" charset="0"/>
              </a:rPr>
              <a:t>UAT</a:t>
            </a:r>
          </a:p>
        </p:txBody>
      </p:sp>
      <p:cxnSp>
        <p:nvCxnSpPr>
          <p:cNvPr id="11" name="Straight Connector 10">
            <a:extLst>
              <a:ext uri="{FF2B5EF4-FFF2-40B4-BE49-F238E27FC236}">
                <a16:creationId xmlns:a16="http://schemas.microsoft.com/office/drawing/2014/main" id="{54AFBBF5-8E46-4479-9C2E-EA169FBF8378}"/>
              </a:ext>
            </a:extLst>
          </p:cNvPr>
          <p:cNvCxnSpPr>
            <a:cxnSpLocks/>
          </p:cNvCxnSpPr>
          <p:nvPr/>
        </p:nvCxnSpPr>
        <p:spPr>
          <a:xfrm>
            <a:off x="8226092" y="1920091"/>
            <a:ext cx="0" cy="28617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E435FA92-A93D-445A-9B78-68FEA35E5DAA}"/>
              </a:ext>
            </a:extLst>
          </p:cNvPr>
          <p:cNvSpPr/>
          <p:nvPr/>
        </p:nvSpPr>
        <p:spPr>
          <a:xfrm>
            <a:off x="8223751" y="1894884"/>
            <a:ext cx="1059209" cy="360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defTabSz="932205">
              <a:defRPr/>
            </a:pPr>
            <a:r>
              <a:rPr lang="en-US" sz="1600" kern="0">
                <a:solidFill>
                  <a:schemeClr val="tx1"/>
                </a:solidFill>
                <a:cs typeface="Segoe UI" pitchFamily="34" charset="0"/>
              </a:rPr>
              <a:t>Deploy</a:t>
            </a:r>
          </a:p>
        </p:txBody>
      </p:sp>
      <p:sp>
        <p:nvSpPr>
          <p:cNvPr id="228" name="Arrow: Pentagon 227">
            <a:extLst>
              <a:ext uri="{FF2B5EF4-FFF2-40B4-BE49-F238E27FC236}">
                <a16:creationId xmlns:a16="http://schemas.microsoft.com/office/drawing/2014/main" id="{A8C24067-0477-41D2-A305-4B1A9DFD7B04}"/>
              </a:ext>
            </a:extLst>
          </p:cNvPr>
          <p:cNvSpPr/>
          <p:nvPr/>
        </p:nvSpPr>
        <p:spPr bwMode="auto">
          <a:xfrm>
            <a:off x="3000495" y="2615691"/>
            <a:ext cx="1390636" cy="589025"/>
          </a:xfrm>
          <a:prstGeom prst="homePlate">
            <a:avLst>
              <a:gd name="adj" fmla="val 375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a:solidFill>
                  <a:srgbClr val="FFFFFF"/>
                </a:solidFill>
                <a:cs typeface="Segoe UI" pitchFamily="34" charset="0"/>
              </a:rPr>
              <a:t>Cycle 1</a:t>
            </a:r>
          </a:p>
        </p:txBody>
      </p:sp>
      <p:sp>
        <p:nvSpPr>
          <p:cNvPr id="32" name="Arrow: Pentagon 31">
            <a:extLst>
              <a:ext uri="{FF2B5EF4-FFF2-40B4-BE49-F238E27FC236}">
                <a16:creationId xmlns:a16="http://schemas.microsoft.com/office/drawing/2014/main" id="{AA02C0DF-7930-437A-B2EA-C7B3DF8A1BE5}"/>
              </a:ext>
            </a:extLst>
          </p:cNvPr>
          <p:cNvSpPr/>
          <p:nvPr/>
        </p:nvSpPr>
        <p:spPr bwMode="auto">
          <a:xfrm>
            <a:off x="6789486" y="5874474"/>
            <a:ext cx="1563551" cy="527656"/>
          </a:xfrm>
          <a:prstGeom prst="homePlate">
            <a:avLst>
              <a:gd name="adj" fmla="val 375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1400">
              <a:solidFill>
                <a:srgbClr val="FFFFFF"/>
              </a:solidFill>
              <a:cs typeface="Segoe UI" pitchFamily="34" charset="0"/>
            </a:endParaRPr>
          </a:p>
        </p:txBody>
      </p:sp>
      <p:sp>
        <p:nvSpPr>
          <p:cNvPr id="33" name="TextBox 32">
            <a:extLst>
              <a:ext uri="{FF2B5EF4-FFF2-40B4-BE49-F238E27FC236}">
                <a16:creationId xmlns:a16="http://schemas.microsoft.com/office/drawing/2014/main" id="{9D8B5A63-A0FF-47A0-BB0D-8BBF5123D479}"/>
              </a:ext>
            </a:extLst>
          </p:cNvPr>
          <p:cNvSpPr txBox="1"/>
          <p:nvPr/>
        </p:nvSpPr>
        <p:spPr>
          <a:xfrm flipH="1">
            <a:off x="7259973" y="5980842"/>
            <a:ext cx="635445" cy="307777"/>
          </a:xfrm>
          <a:prstGeom prst="rect">
            <a:avLst/>
          </a:prstGeom>
          <a:solidFill>
            <a:schemeClr val="accent1"/>
          </a:solidFill>
          <a:ln>
            <a:noFill/>
          </a:ln>
        </p:spPr>
        <p:style>
          <a:lnRef idx="1">
            <a:schemeClr val="accent5"/>
          </a:lnRef>
          <a:fillRef idx="3">
            <a:schemeClr val="accent5"/>
          </a:fillRef>
          <a:effectRef idx="2">
            <a:schemeClr val="accent5"/>
          </a:effectRef>
          <a:fontRef idx="minor">
            <a:schemeClr val="lt1"/>
          </a:fontRef>
        </p:style>
        <p:txBody>
          <a:bodyPr wrap="square" lIns="0" tIns="0" rIns="0" bIns="0" rtlCol="0">
            <a:spAutoFit/>
          </a:bodyPr>
          <a:lstStyle/>
          <a:p>
            <a:pPr algn="l"/>
            <a:r>
              <a:rPr lang="en-AU" sz="2000"/>
              <a:t>UAT</a:t>
            </a:r>
          </a:p>
        </p:txBody>
      </p:sp>
      <p:sp>
        <p:nvSpPr>
          <p:cNvPr id="40" name="Arrow: Pentagon 39">
            <a:extLst>
              <a:ext uri="{FF2B5EF4-FFF2-40B4-BE49-F238E27FC236}">
                <a16:creationId xmlns:a16="http://schemas.microsoft.com/office/drawing/2014/main" id="{C329C38D-6FAB-4255-94D9-4D60003E4E8A}"/>
              </a:ext>
            </a:extLst>
          </p:cNvPr>
          <p:cNvSpPr/>
          <p:nvPr/>
        </p:nvSpPr>
        <p:spPr bwMode="auto">
          <a:xfrm>
            <a:off x="3003755" y="5137021"/>
            <a:ext cx="5331531" cy="538878"/>
          </a:xfrm>
          <a:prstGeom prst="homePlate">
            <a:avLst>
              <a:gd name="adj" fmla="val 375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1400">
              <a:solidFill>
                <a:srgbClr val="FFFFFF"/>
              </a:solidFill>
              <a:cs typeface="Segoe UI" pitchFamily="34" charset="0"/>
            </a:endParaRPr>
          </a:p>
        </p:txBody>
      </p:sp>
      <p:sp>
        <p:nvSpPr>
          <p:cNvPr id="41" name="TextBox 40">
            <a:extLst>
              <a:ext uri="{FF2B5EF4-FFF2-40B4-BE49-F238E27FC236}">
                <a16:creationId xmlns:a16="http://schemas.microsoft.com/office/drawing/2014/main" id="{FBEA0CA1-2C0D-4F8A-A5B2-DEB141C449AB}"/>
              </a:ext>
            </a:extLst>
          </p:cNvPr>
          <p:cNvSpPr txBox="1"/>
          <p:nvPr/>
        </p:nvSpPr>
        <p:spPr>
          <a:xfrm flipH="1">
            <a:off x="3818331" y="5261108"/>
            <a:ext cx="2596557" cy="307777"/>
          </a:xfrm>
          <a:prstGeom prst="rect">
            <a:avLst/>
          </a:prstGeom>
          <a:solidFill>
            <a:schemeClr val="accent1"/>
          </a:solidFill>
          <a:ln>
            <a:noFill/>
          </a:ln>
        </p:spPr>
        <p:style>
          <a:lnRef idx="1">
            <a:schemeClr val="accent5"/>
          </a:lnRef>
          <a:fillRef idx="3">
            <a:schemeClr val="accent5"/>
          </a:fillRef>
          <a:effectRef idx="2">
            <a:schemeClr val="accent5"/>
          </a:effectRef>
          <a:fontRef idx="minor">
            <a:schemeClr val="lt1"/>
          </a:fontRef>
        </p:style>
        <p:txBody>
          <a:bodyPr wrap="square" lIns="0" tIns="0" rIns="0" bIns="0" rtlCol="0">
            <a:spAutoFit/>
          </a:bodyPr>
          <a:lstStyle/>
          <a:p>
            <a:pPr algn="l"/>
            <a:r>
              <a:rPr lang="en-AU" sz="2000"/>
              <a:t>Data validation test</a:t>
            </a:r>
          </a:p>
        </p:txBody>
      </p:sp>
      <p:pic>
        <p:nvPicPr>
          <p:cNvPr id="56" name="Graphic 55" descr="Arrow circle">
            <a:extLst>
              <a:ext uri="{FF2B5EF4-FFF2-40B4-BE49-F238E27FC236}">
                <a16:creationId xmlns:a16="http://schemas.microsoft.com/office/drawing/2014/main" id="{A9E6F7DF-B107-401D-A3F2-E8F669A90C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04089" y="1876878"/>
            <a:ext cx="443667" cy="443667"/>
          </a:xfrm>
          <a:prstGeom prst="rect">
            <a:avLst/>
          </a:prstGeom>
        </p:spPr>
      </p:pic>
      <p:sp>
        <p:nvSpPr>
          <p:cNvPr id="61" name="Rectangle 60">
            <a:extLst>
              <a:ext uri="{FF2B5EF4-FFF2-40B4-BE49-F238E27FC236}">
                <a16:creationId xmlns:a16="http://schemas.microsoft.com/office/drawing/2014/main" id="{18FA8038-D6DC-4D16-A595-827BCD70533C}"/>
              </a:ext>
            </a:extLst>
          </p:cNvPr>
          <p:cNvSpPr/>
          <p:nvPr/>
        </p:nvSpPr>
        <p:spPr bwMode="auto">
          <a:xfrm>
            <a:off x="747836" y="2523060"/>
            <a:ext cx="1892953" cy="405934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AU" sz="1800">
                <a:solidFill>
                  <a:srgbClr val="FFFFFF"/>
                </a:solidFill>
                <a:ea typeface="Segoe UI" pitchFamily="34" charset="0"/>
                <a:cs typeface="Segoe UI" pitchFamily="34" charset="0"/>
              </a:rPr>
              <a:t>Data Migration Strategy</a:t>
            </a:r>
          </a:p>
          <a:p>
            <a:pPr marL="171450" indent="-171450">
              <a:buFont typeface="Arial" panose="020B0604020202020204" pitchFamily="34" charset="0"/>
              <a:buChar char="•"/>
            </a:pPr>
            <a:r>
              <a:rPr lang="en-AU" sz="1600"/>
              <a:t>Scope</a:t>
            </a:r>
          </a:p>
          <a:p>
            <a:pPr marL="171450" indent="-171450">
              <a:buFont typeface="Arial" panose="020B0604020202020204" pitchFamily="34" charset="0"/>
              <a:buChar char="•"/>
            </a:pPr>
            <a:r>
              <a:rPr lang="en-AU" sz="1600"/>
              <a:t>Approach</a:t>
            </a:r>
          </a:p>
          <a:p>
            <a:pPr marL="171450" indent="-171450">
              <a:buFont typeface="Arial" panose="020B0604020202020204" pitchFamily="34" charset="0"/>
              <a:buChar char="•"/>
            </a:pPr>
            <a:r>
              <a:rPr lang="en-AU" sz="1600"/>
              <a:t>Data management process</a:t>
            </a:r>
          </a:p>
          <a:p>
            <a:pPr marL="171450" indent="-171450">
              <a:buFont typeface="Arial" panose="020B0604020202020204" pitchFamily="34" charset="0"/>
              <a:buChar char="•"/>
            </a:pPr>
            <a:r>
              <a:rPr lang="en-AU" sz="1600"/>
              <a:t>Tools</a:t>
            </a:r>
            <a:endParaRPr lang="en-AU" sz="1600">
              <a:solidFill>
                <a:srgbClr val="FFFFFF"/>
              </a:solidFill>
              <a:ea typeface="Segoe UI" pitchFamily="34" charset="0"/>
              <a:cs typeface="Segoe UI" pitchFamily="34" charset="0"/>
            </a:endParaRPr>
          </a:p>
          <a:p>
            <a:pPr algn="l" defTabSz="932472" fontAlgn="base">
              <a:spcBef>
                <a:spcPct val="0"/>
              </a:spcBef>
              <a:spcAft>
                <a:spcPct val="0"/>
              </a:spcAft>
            </a:pPr>
            <a:endParaRPr lang="en-AU" sz="1800">
              <a:solidFill>
                <a:srgbClr val="FFFFFF"/>
              </a:solidFill>
              <a:ea typeface="Segoe UI" pitchFamily="34" charset="0"/>
              <a:cs typeface="Segoe UI" pitchFamily="34" charset="0"/>
            </a:endParaRPr>
          </a:p>
          <a:p>
            <a:pPr algn="l" defTabSz="932472" fontAlgn="base">
              <a:spcBef>
                <a:spcPct val="0"/>
              </a:spcBef>
              <a:spcAft>
                <a:spcPct val="0"/>
              </a:spcAft>
            </a:pPr>
            <a:r>
              <a:rPr lang="en-AU" sz="1800">
                <a:solidFill>
                  <a:srgbClr val="FFFFFF"/>
                </a:solidFill>
                <a:ea typeface="Segoe UI" pitchFamily="34" charset="0"/>
                <a:cs typeface="Segoe UI" pitchFamily="34" charset="0"/>
              </a:rPr>
              <a:t>Functional requirements</a:t>
            </a:r>
          </a:p>
          <a:p>
            <a:pPr algn="l" defTabSz="932472" fontAlgn="base">
              <a:spcBef>
                <a:spcPct val="0"/>
              </a:spcBef>
              <a:spcAft>
                <a:spcPct val="0"/>
              </a:spcAft>
            </a:pPr>
            <a:endParaRPr lang="en-AU" sz="1800">
              <a:solidFill>
                <a:srgbClr val="FFFFFF"/>
              </a:solidFill>
              <a:ea typeface="Segoe UI" pitchFamily="34" charset="0"/>
              <a:cs typeface="Segoe UI" pitchFamily="34" charset="0"/>
            </a:endParaRPr>
          </a:p>
          <a:p>
            <a:pPr defTabSz="932472" fontAlgn="base">
              <a:spcBef>
                <a:spcPct val="0"/>
              </a:spcBef>
              <a:spcAft>
                <a:spcPct val="0"/>
              </a:spcAft>
            </a:pPr>
            <a:r>
              <a:rPr lang="en-AU" sz="1800">
                <a:solidFill>
                  <a:srgbClr val="FFFFFF"/>
                </a:solidFill>
                <a:ea typeface="Segoe UI" pitchFamily="34" charset="0"/>
                <a:cs typeface="Segoe UI" pitchFamily="34" charset="0"/>
              </a:rPr>
              <a:t>Performance requirements</a:t>
            </a:r>
          </a:p>
          <a:p>
            <a:pPr algn="l" defTabSz="932472" fontAlgn="base">
              <a:spcBef>
                <a:spcPct val="0"/>
              </a:spcBef>
              <a:spcAft>
                <a:spcPct val="0"/>
              </a:spcAft>
            </a:pPr>
            <a:endParaRPr lang="en-AU" sz="1800">
              <a:solidFill>
                <a:srgbClr val="FFFFFF"/>
              </a:solidFill>
              <a:ea typeface="Segoe UI" pitchFamily="34" charset="0"/>
              <a:cs typeface="Segoe UI" pitchFamily="34" charset="0"/>
            </a:endParaRPr>
          </a:p>
        </p:txBody>
      </p:sp>
      <p:sp>
        <p:nvSpPr>
          <p:cNvPr id="6" name="Arrow: Pentagon 5">
            <a:extLst>
              <a:ext uri="{FF2B5EF4-FFF2-40B4-BE49-F238E27FC236}">
                <a16:creationId xmlns:a16="http://schemas.microsoft.com/office/drawing/2014/main" id="{B2344BA7-A182-4E66-BAE1-B69AFD03BBC6}"/>
              </a:ext>
            </a:extLst>
          </p:cNvPr>
          <p:cNvSpPr/>
          <p:nvPr/>
        </p:nvSpPr>
        <p:spPr bwMode="auto">
          <a:xfrm>
            <a:off x="4112779" y="3468578"/>
            <a:ext cx="1390636" cy="589025"/>
          </a:xfrm>
          <a:prstGeom prst="homePlate">
            <a:avLst>
              <a:gd name="adj" fmla="val 375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a:solidFill>
                  <a:srgbClr val="FFFFFF"/>
                </a:solidFill>
                <a:cs typeface="Segoe UI" pitchFamily="34" charset="0"/>
              </a:rPr>
              <a:t>Cycle 2</a:t>
            </a:r>
          </a:p>
        </p:txBody>
      </p:sp>
      <p:sp>
        <p:nvSpPr>
          <p:cNvPr id="8" name="Arrow: Pentagon 7">
            <a:extLst>
              <a:ext uri="{FF2B5EF4-FFF2-40B4-BE49-F238E27FC236}">
                <a16:creationId xmlns:a16="http://schemas.microsoft.com/office/drawing/2014/main" id="{9AC59D26-7FCE-46A1-9DDD-C6AB7471BCE2}"/>
              </a:ext>
            </a:extLst>
          </p:cNvPr>
          <p:cNvSpPr/>
          <p:nvPr/>
        </p:nvSpPr>
        <p:spPr bwMode="auto">
          <a:xfrm>
            <a:off x="5536271" y="4131353"/>
            <a:ext cx="1390636" cy="589025"/>
          </a:xfrm>
          <a:prstGeom prst="homePlate">
            <a:avLst>
              <a:gd name="adj" fmla="val 375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a:solidFill>
                  <a:srgbClr val="FFFFFF"/>
                </a:solidFill>
                <a:cs typeface="Segoe UI" pitchFamily="34" charset="0"/>
              </a:rPr>
              <a:t>Cycle 3</a:t>
            </a:r>
          </a:p>
        </p:txBody>
      </p:sp>
      <p:sp>
        <p:nvSpPr>
          <p:cNvPr id="13" name="Arrow: Pentagon 12">
            <a:extLst>
              <a:ext uri="{FF2B5EF4-FFF2-40B4-BE49-F238E27FC236}">
                <a16:creationId xmlns:a16="http://schemas.microsoft.com/office/drawing/2014/main" id="{20E1B1D3-BDA0-4DB0-AB4D-A08F4B5B3CAD}"/>
              </a:ext>
            </a:extLst>
          </p:cNvPr>
          <p:cNvSpPr/>
          <p:nvPr/>
        </p:nvSpPr>
        <p:spPr bwMode="auto">
          <a:xfrm>
            <a:off x="7813486" y="4131353"/>
            <a:ext cx="1390636" cy="589025"/>
          </a:xfrm>
          <a:prstGeom prst="homePlate">
            <a:avLst>
              <a:gd name="adj" fmla="val 375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a:solidFill>
                  <a:srgbClr val="FFFFFF"/>
                </a:solidFill>
                <a:cs typeface="Segoe UI" pitchFamily="34" charset="0"/>
              </a:rPr>
              <a:t>May not be a full cycle</a:t>
            </a:r>
          </a:p>
        </p:txBody>
      </p:sp>
    </p:spTree>
    <p:extLst>
      <p:ext uri="{BB962C8B-B14F-4D97-AF65-F5344CB8AC3E}">
        <p14:creationId xmlns:p14="http://schemas.microsoft.com/office/powerpoint/2010/main" val="605942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3CE197C9-C9E2-4F5F-AA4A-1C38A7B2030B}"/>
              </a:ext>
            </a:extLst>
          </p:cNvPr>
          <p:cNvGrpSpPr/>
          <p:nvPr/>
        </p:nvGrpSpPr>
        <p:grpSpPr>
          <a:xfrm>
            <a:off x="457200" y="1189176"/>
            <a:ext cx="11277600" cy="522386"/>
            <a:chOff x="457200" y="1895261"/>
            <a:chExt cx="11277600" cy="522386"/>
          </a:xfrm>
        </p:grpSpPr>
        <p:sp>
          <p:nvSpPr>
            <p:cNvPr id="20" name="Rectangle 19">
              <a:extLst>
                <a:ext uri="{FF2B5EF4-FFF2-40B4-BE49-F238E27FC236}">
                  <a16:creationId xmlns:a16="http://schemas.microsoft.com/office/drawing/2014/main" id="{3EBF0E00-3491-407A-B77E-C8A241BBCFB3}"/>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Describe the project timelines regarding data migration.</a:t>
              </a:r>
            </a:p>
          </p:txBody>
        </p:sp>
        <p:grpSp>
          <p:nvGrpSpPr>
            <p:cNvPr id="21" name="Group 20">
              <a:extLst>
                <a:ext uri="{FF2B5EF4-FFF2-40B4-BE49-F238E27FC236}">
                  <a16:creationId xmlns:a16="http://schemas.microsoft.com/office/drawing/2014/main" id="{58108533-E0E9-4DC6-8671-5866A3000BF2}"/>
                </a:ext>
              </a:extLst>
            </p:cNvPr>
            <p:cNvGrpSpPr/>
            <p:nvPr/>
          </p:nvGrpSpPr>
          <p:grpSpPr>
            <a:xfrm>
              <a:off x="457200" y="1993398"/>
              <a:ext cx="326112" cy="326112"/>
              <a:chOff x="115497" y="1864737"/>
              <a:chExt cx="461744" cy="461744"/>
            </a:xfrm>
            <a:solidFill>
              <a:schemeClr val="tx2"/>
            </a:solidFill>
          </p:grpSpPr>
          <p:sp>
            <p:nvSpPr>
              <p:cNvPr id="22" name="Freeform: Shape 21">
                <a:extLst>
                  <a:ext uri="{FF2B5EF4-FFF2-40B4-BE49-F238E27FC236}">
                    <a16:creationId xmlns:a16="http://schemas.microsoft.com/office/drawing/2014/main" id="{5D3138EE-3B8E-4C03-BE9C-1A99127A353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Graphic 77">
                <a:extLst>
                  <a:ext uri="{FF2B5EF4-FFF2-40B4-BE49-F238E27FC236}">
                    <a16:creationId xmlns:a16="http://schemas.microsoft.com/office/drawing/2014/main" id="{E560C7A7-08F3-43EE-8ADF-2EEC0C32824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Planning and Strategy</a:t>
            </a:r>
          </a:p>
        </p:txBody>
      </p:sp>
      <p:sp>
        <p:nvSpPr>
          <p:cNvPr id="11" name="Rectangle 10">
            <a:extLst>
              <a:ext uri="{FF2B5EF4-FFF2-40B4-BE49-F238E27FC236}">
                <a16:creationId xmlns:a16="http://schemas.microsoft.com/office/drawing/2014/main" id="{76583F2C-13BC-4FA8-A9DE-F1F764C38F10}"/>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dirty="0">
                <a:solidFill>
                  <a:schemeClr val="tx1"/>
                </a:solidFill>
              </a:rPr>
              <a:t>Add Info</a:t>
            </a:r>
          </a:p>
          <a:p>
            <a:pPr algn="ctr"/>
            <a:endParaRPr lang="en-US" sz="1600" dirty="0">
              <a:solidFill>
                <a:schemeClr val="tx1"/>
              </a:solidFill>
              <a:cs typeface="Segoe UI"/>
            </a:endParaRPr>
          </a:p>
          <a:p>
            <a:pPr algn="ctr"/>
            <a:r>
              <a:rPr lang="en-US" sz="1600" dirty="0">
                <a:solidFill>
                  <a:schemeClr val="tx1"/>
                </a:solidFill>
              </a:rPr>
              <a:t>(See slide notes for additional information)</a:t>
            </a:r>
          </a:p>
          <a:p>
            <a:pPr algn="ctr"/>
            <a:endParaRPr lang="en-US" sz="1600" dirty="0">
              <a:solidFill>
                <a:schemeClr val="tx1"/>
              </a:solidFill>
            </a:endParaRPr>
          </a:p>
        </p:txBody>
      </p:sp>
    </p:spTree>
    <p:extLst>
      <p:ext uri="{BB962C8B-B14F-4D97-AF65-F5344CB8AC3E}">
        <p14:creationId xmlns:p14="http://schemas.microsoft.com/office/powerpoint/2010/main" val="3744392427"/>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3CE197C9-C9E2-4F5F-AA4A-1C38A7B2030B}"/>
              </a:ext>
            </a:extLst>
          </p:cNvPr>
          <p:cNvGrpSpPr/>
          <p:nvPr/>
        </p:nvGrpSpPr>
        <p:grpSpPr>
          <a:xfrm>
            <a:off x="457200" y="1189176"/>
            <a:ext cx="11277600" cy="522386"/>
            <a:chOff x="457200" y="1895261"/>
            <a:chExt cx="11277600" cy="522386"/>
          </a:xfrm>
        </p:grpSpPr>
        <p:sp>
          <p:nvSpPr>
            <p:cNvPr id="20" name="Rectangle 19">
              <a:extLst>
                <a:ext uri="{FF2B5EF4-FFF2-40B4-BE49-F238E27FC236}">
                  <a16:creationId xmlns:a16="http://schemas.microsoft.com/office/drawing/2014/main" id="{3EBF0E00-3491-407A-B77E-C8A241BBCFB3}"/>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ata ownership</a:t>
              </a:r>
            </a:p>
          </p:txBody>
        </p:sp>
        <p:grpSp>
          <p:nvGrpSpPr>
            <p:cNvPr id="21" name="Group 20">
              <a:extLst>
                <a:ext uri="{FF2B5EF4-FFF2-40B4-BE49-F238E27FC236}">
                  <a16:creationId xmlns:a16="http://schemas.microsoft.com/office/drawing/2014/main" id="{58108533-E0E9-4DC6-8671-5866A3000BF2}"/>
                </a:ext>
              </a:extLst>
            </p:cNvPr>
            <p:cNvGrpSpPr/>
            <p:nvPr/>
          </p:nvGrpSpPr>
          <p:grpSpPr>
            <a:xfrm>
              <a:off x="457200" y="1993398"/>
              <a:ext cx="326112" cy="326112"/>
              <a:chOff x="115497" y="1864737"/>
              <a:chExt cx="461744" cy="461744"/>
            </a:xfrm>
            <a:solidFill>
              <a:schemeClr val="tx2"/>
            </a:solidFill>
          </p:grpSpPr>
          <p:sp>
            <p:nvSpPr>
              <p:cNvPr id="22" name="Freeform: Shape 21">
                <a:extLst>
                  <a:ext uri="{FF2B5EF4-FFF2-40B4-BE49-F238E27FC236}">
                    <a16:creationId xmlns:a16="http://schemas.microsoft.com/office/drawing/2014/main" id="{5D3138EE-3B8E-4C03-BE9C-1A99127A353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Graphic 77">
                <a:extLst>
                  <a:ext uri="{FF2B5EF4-FFF2-40B4-BE49-F238E27FC236}">
                    <a16:creationId xmlns:a16="http://schemas.microsoft.com/office/drawing/2014/main" id="{E560C7A7-08F3-43EE-8ADF-2EEC0C32824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Planning and Strategy</a:t>
            </a:r>
          </a:p>
        </p:txBody>
      </p:sp>
      <p:sp>
        <p:nvSpPr>
          <p:cNvPr id="11" name="Rectangle 10">
            <a:extLst>
              <a:ext uri="{FF2B5EF4-FFF2-40B4-BE49-F238E27FC236}">
                <a16:creationId xmlns:a16="http://schemas.microsoft.com/office/drawing/2014/main" id="{76583F2C-13BC-4FA8-A9DE-F1F764C38F10}"/>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a:p>
            <a:pPr algn="ctr"/>
            <a:br>
              <a:rPr lang="en-US" sz="1600">
                <a:solidFill>
                  <a:schemeClr val="tx1"/>
                </a:solidFill>
              </a:rPr>
            </a:br>
            <a:r>
              <a:rPr lang="en-US" sz="1600">
                <a:solidFill>
                  <a:schemeClr val="tx1"/>
                </a:solidFill>
              </a:rPr>
              <a:t>(See slide notes for additional information)</a:t>
            </a:r>
          </a:p>
          <a:p>
            <a:pPr algn="ctr"/>
            <a:endParaRPr lang="en-US" sz="1600">
              <a:solidFill>
                <a:schemeClr val="tx1"/>
              </a:solidFill>
            </a:endParaRPr>
          </a:p>
        </p:txBody>
      </p:sp>
    </p:spTree>
    <p:extLst>
      <p:ext uri="{BB962C8B-B14F-4D97-AF65-F5344CB8AC3E}">
        <p14:creationId xmlns:p14="http://schemas.microsoft.com/office/powerpoint/2010/main" val="4209219"/>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3CE197C9-C9E2-4F5F-AA4A-1C38A7B2030B}"/>
              </a:ext>
            </a:extLst>
          </p:cNvPr>
          <p:cNvGrpSpPr/>
          <p:nvPr/>
        </p:nvGrpSpPr>
        <p:grpSpPr>
          <a:xfrm>
            <a:off x="457200" y="1189176"/>
            <a:ext cx="11277600" cy="522386"/>
            <a:chOff x="457200" y="1895261"/>
            <a:chExt cx="11277600" cy="522386"/>
          </a:xfrm>
        </p:grpSpPr>
        <p:sp>
          <p:nvSpPr>
            <p:cNvPr id="20" name="Rectangle 19">
              <a:extLst>
                <a:ext uri="{FF2B5EF4-FFF2-40B4-BE49-F238E27FC236}">
                  <a16:creationId xmlns:a16="http://schemas.microsoft.com/office/drawing/2014/main" id="{3EBF0E00-3491-407A-B77E-C8A241BBCFB3}"/>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What type of data do you plan to migrate? </a:t>
              </a:r>
            </a:p>
          </p:txBody>
        </p:sp>
        <p:grpSp>
          <p:nvGrpSpPr>
            <p:cNvPr id="21" name="Group 20">
              <a:extLst>
                <a:ext uri="{FF2B5EF4-FFF2-40B4-BE49-F238E27FC236}">
                  <a16:creationId xmlns:a16="http://schemas.microsoft.com/office/drawing/2014/main" id="{58108533-E0E9-4DC6-8671-5866A3000BF2}"/>
                </a:ext>
              </a:extLst>
            </p:cNvPr>
            <p:cNvGrpSpPr/>
            <p:nvPr/>
          </p:nvGrpSpPr>
          <p:grpSpPr>
            <a:xfrm>
              <a:off x="457200" y="1993398"/>
              <a:ext cx="326112" cy="326112"/>
              <a:chOff x="115497" y="1864737"/>
              <a:chExt cx="461744" cy="461744"/>
            </a:xfrm>
            <a:solidFill>
              <a:schemeClr val="tx2"/>
            </a:solidFill>
          </p:grpSpPr>
          <p:sp>
            <p:nvSpPr>
              <p:cNvPr id="22" name="Freeform: Shape 21">
                <a:extLst>
                  <a:ext uri="{FF2B5EF4-FFF2-40B4-BE49-F238E27FC236}">
                    <a16:creationId xmlns:a16="http://schemas.microsoft.com/office/drawing/2014/main" id="{5D3138EE-3B8E-4C03-BE9C-1A99127A353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Graphic 77">
                <a:extLst>
                  <a:ext uri="{FF2B5EF4-FFF2-40B4-BE49-F238E27FC236}">
                    <a16:creationId xmlns:a16="http://schemas.microsoft.com/office/drawing/2014/main" id="{E560C7A7-08F3-43EE-8ADF-2EEC0C32824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Planning and Strategy</a:t>
            </a:r>
          </a:p>
        </p:txBody>
      </p:sp>
      <p:sp>
        <p:nvSpPr>
          <p:cNvPr id="11" name="Rectangle 10">
            <a:extLst>
              <a:ext uri="{FF2B5EF4-FFF2-40B4-BE49-F238E27FC236}">
                <a16:creationId xmlns:a16="http://schemas.microsoft.com/office/drawing/2014/main" id="{76583F2C-13BC-4FA8-A9DE-F1F764C38F10}"/>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a:p>
            <a:pPr algn="ctr"/>
            <a:br>
              <a:rPr lang="en-US" sz="1600">
                <a:solidFill>
                  <a:schemeClr val="tx1"/>
                </a:solidFill>
              </a:rPr>
            </a:br>
            <a:r>
              <a:rPr lang="en-US" sz="1600">
                <a:solidFill>
                  <a:schemeClr val="tx1"/>
                </a:solidFill>
              </a:rPr>
              <a:t>(See slide notes for additional information)</a:t>
            </a:r>
          </a:p>
        </p:txBody>
      </p:sp>
    </p:spTree>
    <p:extLst>
      <p:ext uri="{BB962C8B-B14F-4D97-AF65-F5344CB8AC3E}">
        <p14:creationId xmlns:p14="http://schemas.microsoft.com/office/powerpoint/2010/main" val="356062852"/>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j9AMThGLMdpwwbD3T1WgQ"/>
</p:tagLst>
</file>

<file path=ppt/theme/theme1.xml><?xml version="1.0" encoding="utf-8"?>
<a:theme xmlns:a="http://schemas.openxmlformats.org/drawingml/2006/main" name="White Template">
  <a:themeElements>
    <a:clrScheme name="Dynamics_NEW_20_Ocean on White">
      <a:dk1>
        <a:srgbClr val="000000"/>
      </a:dk1>
      <a:lt1>
        <a:srgbClr val="FFFFFF"/>
      </a:lt1>
      <a:dk2>
        <a:srgbClr val="0B5569"/>
      </a:dk2>
      <a:lt2>
        <a:srgbClr val="E6E6E6"/>
      </a:lt2>
      <a:accent1>
        <a:srgbClr val="1392B3"/>
      </a:accent1>
      <a:accent2>
        <a:srgbClr val="0B5569"/>
      </a:accent2>
      <a:accent3>
        <a:srgbClr val="4CCBED"/>
      </a:accent3>
      <a:accent4>
        <a:srgbClr val="0078D4"/>
      </a:accent4>
      <a:accent5>
        <a:srgbClr val="243A5E"/>
      </a:accent5>
      <a:accent6>
        <a:srgbClr val="737373"/>
      </a:accent6>
      <a:hlink>
        <a:srgbClr val="1392B3"/>
      </a:hlink>
      <a:folHlink>
        <a:srgbClr val="1392B3"/>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Dynamics 365 template ocean accent.potx" id="{BD6D9AFC-A2AA-415A-9CAE-22491A52C56B}" vid="{928B97AA-EDDF-4A70-ACAA-2396BE69F09B}"/>
    </a:ext>
  </a:extLst>
</a:theme>
</file>

<file path=ppt/theme/theme2.xml><?xml version="1.0" encoding="utf-8"?>
<a:theme xmlns:a="http://schemas.openxmlformats.org/drawingml/2006/main" name="1_White Template">
  <a:themeElements>
    <a:clrScheme name="Dynamics_NEW_20_Ocean on White">
      <a:dk1>
        <a:srgbClr val="000000"/>
      </a:dk1>
      <a:lt1>
        <a:srgbClr val="FFFFFF"/>
      </a:lt1>
      <a:dk2>
        <a:srgbClr val="0B5569"/>
      </a:dk2>
      <a:lt2>
        <a:srgbClr val="E6E6E6"/>
      </a:lt2>
      <a:accent1>
        <a:srgbClr val="1392B3"/>
      </a:accent1>
      <a:accent2>
        <a:srgbClr val="0B5569"/>
      </a:accent2>
      <a:accent3>
        <a:srgbClr val="4CCBED"/>
      </a:accent3>
      <a:accent4>
        <a:srgbClr val="0078D4"/>
      </a:accent4>
      <a:accent5>
        <a:srgbClr val="243A5E"/>
      </a:accent5>
      <a:accent6>
        <a:srgbClr val="737373"/>
      </a:accent6>
      <a:hlink>
        <a:srgbClr val="1392B3"/>
      </a:hlink>
      <a:folHlink>
        <a:srgbClr val="1392B3"/>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Dynamics 365 template ocean accent.potx" id="{BD6D9AFC-A2AA-415A-9CAE-22491A52C56B}" vid="{928B97AA-EDDF-4A70-ACAA-2396BE69F09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8e793c00-403c-4e2e-9f3f-1f9fce3bba0e">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C23B1A370DB454895F1017B66A82434" ma:contentTypeVersion="18" ma:contentTypeDescription="Crée un document." ma:contentTypeScope="" ma:versionID="7c9472313940c07e45c4109cb65aad82">
  <xsd:schema xmlns:xsd="http://www.w3.org/2001/XMLSchema" xmlns:xs="http://www.w3.org/2001/XMLSchema" xmlns:p="http://schemas.microsoft.com/office/2006/metadata/properties" xmlns:ns1="http://schemas.microsoft.com/sharepoint/v3" xmlns:ns2="8e793c00-403c-4e2e-9f3f-1f9fce3bba0e" xmlns:ns3="21801293-8b26-4deb-98c0-71fc7c1e1877" xmlns:ns4="230e9df3-be65-4c73-a93b-d1236ebd677e" targetNamespace="http://schemas.microsoft.com/office/2006/metadata/properties" ma:root="true" ma:fieldsID="11597418ad19d186cc7282dbc93663a7" ns1:_="" ns2:_="" ns3:_="" ns4:_="">
    <xsd:import namespace="http://schemas.microsoft.com/sharepoint/v3"/>
    <xsd:import namespace="8e793c00-403c-4e2e-9f3f-1f9fce3bba0e"/>
    <xsd:import namespace="21801293-8b26-4deb-98c0-71fc7c1e1877"/>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element ref="ns1:_ip_UnifiedCompliancePolicyProperties" minOccurs="0"/>
                <xsd:element ref="ns1:_ip_UnifiedCompliancePolicyUIAction" minOccurs="0"/>
                <xsd:element ref="ns2:MediaLengthInSeconds" minOccurs="0"/>
                <xsd:element ref="ns2:MediaServiceLocation" minOccurs="0"/>
                <xsd:element ref="ns2:MediaServiceGenerationTime" minOccurs="0"/>
                <xsd:element ref="ns2:MediaServiceEventHashCode" minOccurs="0"/>
                <xsd:element ref="ns2:MediaServiceOCR"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Propriétés de la stratégie de conformité unifiée" ma:hidden="true" ma:internalName="_ip_UnifiedCompliancePolicyProperties">
      <xsd:simpleType>
        <xsd:restriction base="dms:Note"/>
      </xsd:simpleType>
    </xsd:element>
    <xsd:element name="_ip_UnifiedCompliancePolicyUIAction" ma:index="16" nillable="true" ma:displayName="Action d’interface utilisateur de la stratégie de conformité unifié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793c00-403c-4e2e-9f3f-1f9fce3bba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lcf76f155ced4ddcb4097134ff3c332f" ma:index="23" nillable="true" ma:taxonomy="true" ma:internalName="lcf76f155ced4ddcb4097134ff3c332f" ma:taxonomyFieldName="MediaServiceImageTags" ma:displayName="Balises d’image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1801293-8b26-4deb-98c0-71fc7c1e1877" elementFormDefault="qualified">
    <xsd:import namespace="http://schemas.microsoft.com/office/2006/documentManagement/types"/>
    <xsd:import namespace="http://schemas.microsoft.com/office/infopath/2007/PartnerControls"/>
    <xsd:element name="SharedWithUsers" ma:index="11"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418f9c09-66a8-4419-a52a-65cd19081897}" ma:internalName="TaxCatchAll" ma:showField="CatchAllData" ma:web="21801293-8b26-4deb-98c0-71fc7c1e187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21801293-8b26-4deb-98c0-71fc7c1e1877"/>
    <ds:schemaRef ds:uri="8e793c00-403c-4e2e-9f3f-1f9fce3bba0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8EDB5D8-AD21-49EF-9230-19B549CBCAA3}"/>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Dynamics 365 template ocean accent</Template>
  <TotalTime>4405</TotalTime>
  <Words>2524</Words>
  <Application>Microsoft Office PowerPoint</Application>
  <PresentationFormat>Widescreen</PresentationFormat>
  <Paragraphs>294</Paragraphs>
  <Slides>27</Slides>
  <Notes>2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7" baseType="lpstr">
      <vt:lpstr>Arial</vt:lpstr>
      <vt:lpstr>Calibri</vt:lpstr>
      <vt:lpstr>Consolas</vt:lpstr>
      <vt:lpstr>Courier New</vt:lpstr>
      <vt:lpstr>Segoe UI</vt:lpstr>
      <vt:lpstr>Segoe UI Semibold</vt:lpstr>
      <vt:lpstr>Wingdings</vt:lpstr>
      <vt:lpstr>White Template</vt:lpstr>
      <vt:lpstr>1_White Template</vt:lpstr>
      <vt:lpstr>think-cell Slide</vt:lpstr>
      <vt:lpstr>FastTrack for  Dynamics 365</vt:lpstr>
      <vt:lpstr>Data Migration Strategy Workshop Agenda</vt:lpstr>
      <vt:lpstr>Data Management Strategy </vt:lpstr>
      <vt:lpstr>Data Management Strategy  </vt:lpstr>
      <vt:lpstr>Planning and Strategy </vt:lpstr>
      <vt:lpstr>Data migration in the solution lifecycle</vt:lpstr>
      <vt:lpstr>Planning and Strategy</vt:lpstr>
      <vt:lpstr>Planning and Strategy</vt:lpstr>
      <vt:lpstr>Planning and Strategy</vt:lpstr>
      <vt:lpstr>Planning and Strategy</vt:lpstr>
      <vt:lpstr>Planning and Strategy</vt:lpstr>
      <vt:lpstr>Planning and Strategy</vt:lpstr>
      <vt:lpstr>Data Volume</vt:lpstr>
      <vt:lpstr>Data Volume</vt:lpstr>
      <vt:lpstr>Data Volume</vt:lpstr>
      <vt:lpstr>Tooling</vt:lpstr>
      <vt:lpstr>Tooling</vt:lpstr>
      <vt:lpstr>Performance</vt:lpstr>
      <vt:lpstr>Performance</vt:lpstr>
      <vt:lpstr>Performance</vt:lpstr>
      <vt:lpstr>Data Validation</vt:lpstr>
      <vt:lpstr>Data Validation</vt:lpstr>
      <vt:lpstr>Testing</vt:lpstr>
      <vt:lpstr>Testing</vt:lpstr>
      <vt:lpstr>Q&amp;A</vt:lpstr>
      <vt:lpstr>Q&amp;A</vt:lpstr>
      <vt:lpstr>PowerPoint Presentation</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nt name or presentation title</dc:title>
  <dc:subject>&lt;Event name&gt;</dc:subject>
  <dc:creator>Kari Amundson</dc:creator>
  <cp:keywords/>
  <dc:description/>
  <cp:lastModifiedBy>Antoan Hristov</cp:lastModifiedBy>
  <cp:revision>1</cp:revision>
  <dcterms:created xsi:type="dcterms:W3CDTF">2020-09-02T05:19:15Z</dcterms:created>
  <dcterms:modified xsi:type="dcterms:W3CDTF">2021-07-07T18:3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23B1A370DB454895F1017B66A8243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ies>
</file>